
<file path=[Content_Types].xml><?xml version="1.0" encoding="utf-8"?>
<Types xmlns="http://schemas.openxmlformats.org/package/2006/content-types">
  <Default Extension="bin" ContentType="application/vnd.openxmlformats-officedocument.oleObject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media/image1.bin" ContentType="image/x-emf"/>
  <Override PartName="/ppt/media/image2.bin" ContentType="image/x-emf"/>
  <Override PartName="/ppt/media/image3.bin" ContentType="image/x-emf"/>
  <Override PartName="/ppt/media/image4.bin" ContentType="image/png"/>
  <Override PartName="/ppt/media/image5.bin" ContentType="image/png"/>
  <Override PartName="/ppt/media/image6.bin" ContentType="image/png"/>
  <Override PartName="/ppt/media/image7.bin" ContentType="image/png"/>
  <Override PartName="/ppt/media/image8.bin" ContentType="image/png"/>
  <Override PartName="/ppt/media/image9.bin" ContentType="image/png"/>
  <Override PartName="/ppt/media/image10.bin" ContentType="image/png"/>
  <Override PartName="/ppt/media/image11.bin" ContentType="image/png"/>
  <Override PartName="/ppt/tags/tag3.xml" ContentType="application/vnd.openxmlformats-officedocument.presentationml.tags+xml"/>
  <Override PartName="/ppt/media/image12.bin" ContentType="image/x-emf"/>
  <Override PartName="/ppt/media/image13.bin" ContentType="image/png"/>
  <Override PartName="/ppt/media/image14.bin" ContentType="image/png"/>
  <Override PartName="/ppt/media/image15.bin" ContentType="image/png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57" r:id="rId5"/>
    <p:sldId id="258" r:id="rId6"/>
    <p:sldId id="259" r:id="rId7"/>
    <p:sldId id="262" r:id="rId8"/>
    <p:sldId id="264" r:id="rId9"/>
    <p:sldId id="260" r:id="rId10"/>
    <p:sldId id="261" r:id="rId11"/>
    <p:sldId id="263" r:id="rId12"/>
  </p:sldIdLst>
  <p:sldSz cx="12192000" cy="6858000"/>
  <p:notesSz cx="6858000" cy="9144000"/>
  <p:embeddedFontLst>
    <p:embeddedFont>
      <p:font typeface="Karbon" panose="020B0604020202020204" charset="0"/>
      <p:regular r:id="rId15"/>
      <p:bold r:id="rId16"/>
      <p:italic r:id="rId17"/>
      <p:boldItalic r:id="rId18"/>
    </p:embeddedFont>
    <p:embeddedFont>
      <p:font typeface="Karbon Light" panose="02000000000000000000" charset="0"/>
      <p:regular r:id="rId19"/>
      <p:italic r:id="rId20"/>
    </p:embeddedFont>
    <p:embeddedFont>
      <p:font typeface="Karbon Medium" charset="0"/>
      <p:regular r:id="rId21"/>
      <p:italic r:id="rId22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 userDrawn="1">
          <p15:clr>
            <a:srgbClr val="F26B43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3710853-B383-4AF0-B7C6-7A3FC4B45BB4}" v="134" dt="2023-12-01T17:13:04.57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75" autoAdjust="0"/>
  </p:normalViewPr>
  <p:slideViewPr>
    <p:cSldViewPr snapToGrid="0" showGuides="1">
      <p:cViewPr>
        <p:scale>
          <a:sx n="82" d="100"/>
          <a:sy n="82" d="100"/>
        </p:scale>
        <p:origin x="720" y="72"/>
      </p:cViewPr>
      <p:guideLst>
        <p:guide orient="horz" pos="731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 showGuides="1">
      <p:cViewPr varScale="1">
        <p:scale>
          <a:sx n="96" d="100"/>
          <a:sy n="96" d="100"/>
        </p:scale>
        <p:origin x="355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3.fntdata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font" Target="fonts/font1.fntdata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font" Target="fonts/font5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 dirty="0">
              <a:latin typeface="Karbon Medium" pitchFamily="2" charset="0"/>
            </a:endParaRPr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0EBD5D-2268-4227-8581-7AF8E18415A2}" type="datetimeFigureOut">
              <a:rPr lang="da-DK">
                <a:latin typeface="Karbon Medium" pitchFamily="2" charset="0"/>
              </a:rPr>
              <a:t>01-12-2023</a:t>
            </a:fld>
            <a:endParaRPr lang="da-DK" dirty="0">
              <a:latin typeface="Karbon Medium" pitchFamily="2" charset="0"/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>
              <a:latin typeface="Karbon Medium" pitchFamily="2" charset="0"/>
            </a:endParaRP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397D2F-9676-4A89-BDEB-EC9ACB8A87B2}" type="slidenum">
              <a:rPr lang="da-DK">
                <a:latin typeface="Karbon Medium" pitchFamily="2" charset="0"/>
              </a:rPr>
              <a:t>‹#›</a:t>
            </a:fld>
            <a:endParaRPr lang="da-DK" dirty="0">
              <a:latin typeface="Karbon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71008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Karbon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Karbon Medium" pitchFamily="2" charset="0"/>
              </a:defRPr>
            </a:lvl1pPr>
          </a:lstStyle>
          <a:p>
            <a:fld id="{CD72A38B-F9FA-4036-A084-652409E98F08}" type="datetimeFigureOut">
              <a:rPr lang="en-GB"/>
              <a:pPr/>
              <a:t>01/12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7387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1000" y="4343400"/>
            <a:ext cx="60960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Karbon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Karbon Medium" pitchFamily="2" charset="0"/>
              </a:defRPr>
            </a:lvl1pPr>
          </a:lstStyle>
          <a:p>
            <a:fld id="{49436F85-577F-4A92-A47F-D540A2BCC821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09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Karbon Medium" pitchFamily="2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Karbon Medium" pitchFamily="2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Karbon Medium" pitchFamily="2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Karbon Medium" pitchFamily="2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Karbon Medium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bin"/><Relationship Id="rId3" Type="http://schemas.openxmlformats.org/officeDocument/2006/relationships/image" Target="../media/image5.bin"/><Relationship Id="rId7" Type="http://schemas.openxmlformats.org/officeDocument/2006/relationships/image" Target="../media/image9.bin"/><Relationship Id="rId2" Type="http://schemas.openxmlformats.org/officeDocument/2006/relationships/image" Target="../media/image4.bin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bin"/><Relationship Id="rId5" Type="http://schemas.openxmlformats.org/officeDocument/2006/relationships/image" Target="../media/image7.bin"/><Relationship Id="rId4" Type="http://schemas.openxmlformats.org/officeDocument/2006/relationships/image" Target="../media/image6.bin"/><Relationship Id="rId9" Type="http://schemas.openxmlformats.org/officeDocument/2006/relationships/image" Target="../media/image1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bin"/><Relationship Id="rId3" Type="http://schemas.openxmlformats.org/officeDocument/2006/relationships/oleObject" Target="../embeddings/oleObject2.bin"/><Relationship Id="rId7" Type="http://schemas.openxmlformats.org/officeDocument/2006/relationships/image" Target="../media/image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3.bin"/><Relationship Id="rId5" Type="http://schemas.openxmlformats.org/officeDocument/2006/relationships/hyperlink" Target="https://3shapedental.sharepoint.com/Pages/About%20Us/Our%20company/CVI.aspx" TargetMode="External"/><Relationship Id="rId4" Type="http://schemas.openxmlformats.org/officeDocument/2006/relationships/image" Target="../media/image12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bin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17A03ED-BC66-4ED4-B4DC-79B17BB6BD0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4963" y="603580"/>
            <a:ext cx="11521279" cy="4620883"/>
          </a:xfrm>
          <a:custGeom>
            <a:avLst/>
            <a:gdLst>
              <a:gd name="connsiteX0" fmla="*/ 9135095 w 11521279"/>
              <a:gd name="connsiteY0" fmla="*/ 0 h 4618547"/>
              <a:gd name="connsiteX1" fmla="*/ 9178217 w 11521279"/>
              <a:gd name="connsiteY1" fmla="*/ 4196 h 4618547"/>
              <a:gd name="connsiteX2" fmla="*/ 9170644 w 11521279"/>
              <a:gd name="connsiteY2" fmla="*/ 4866 h 4618547"/>
              <a:gd name="connsiteX3" fmla="*/ 11521279 w 11521279"/>
              <a:gd name="connsiteY3" fmla="*/ 260596 h 4618547"/>
              <a:gd name="connsiteX4" fmla="*/ 11521279 w 11521279"/>
              <a:gd name="connsiteY4" fmla="*/ 4330888 h 4618547"/>
              <a:gd name="connsiteX5" fmla="*/ 11520487 w 11521279"/>
              <a:gd name="connsiteY5" fmla="*/ 4330888 h 4618547"/>
              <a:gd name="connsiteX6" fmla="*/ 11520487 w 11521279"/>
              <a:gd name="connsiteY6" fmla="*/ 4331210 h 4618547"/>
              <a:gd name="connsiteX7" fmla="*/ 11520487 w 11521279"/>
              <a:gd name="connsiteY7" fmla="*/ 4617792 h 4618547"/>
              <a:gd name="connsiteX8" fmla="*/ 11520487 w 11521279"/>
              <a:gd name="connsiteY8" fmla="*/ 4618547 h 4618547"/>
              <a:gd name="connsiteX9" fmla="*/ 0 w 11521279"/>
              <a:gd name="connsiteY9" fmla="*/ 4618547 h 4618547"/>
              <a:gd name="connsiteX10" fmla="*/ 0 w 11521279"/>
              <a:gd name="connsiteY10" fmla="*/ 3664527 h 4618547"/>
              <a:gd name="connsiteX11" fmla="*/ 794 w 11521279"/>
              <a:gd name="connsiteY11" fmla="*/ 3664527 h 4618547"/>
              <a:gd name="connsiteX12" fmla="*/ 794 w 11521279"/>
              <a:gd name="connsiteY12" fmla="*/ 897445 h 4618547"/>
              <a:gd name="connsiteX0" fmla="*/ 9135095 w 11521279"/>
              <a:gd name="connsiteY0" fmla="*/ 0 h 4618547"/>
              <a:gd name="connsiteX1" fmla="*/ 9178217 w 11521279"/>
              <a:gd name="connsiteY1" fmla="*/ 4196 h 4618547"/>
              <a:gd name="connsiteX2" fmla="*/ 9170644 w 11521279"/>
              <a:gd name="connsiteY2" fmla="*/ 4866 h 4618547"/>
              <a:gd name="connsiteX3" fmla="*/ 11521279 w 11521279"/>
              <a:gd name="connsiteY3" fmla="*/ 260596 h 4618547"/>
              <a:gd name="connsiteX4" fmla="*/ 11521279 w 11521279"/>
              <a:gd name="connsiteY4" fmla="*/ 4330888 h 4618547"/>
              <a:gd name="connsiteX5" fmla="*/ 11520487 w 11521279"/>
              <a:gd name="connsiteY5" fmla="*/ 4330888 h 4618547"/>
              <a:gd name="connsiteX6" fmla="*/ 11520487 w 11521279"/>
              <a:gd name="connsiteY6" fmla="*/ 4331210 h 4618547"/>
              <a:gd name="connsiteX7" fmla="*/ 11520487 w 11521279"/>
              <a:gd name="connsiteY7" fmla="*/ 4617792 h 4618547"/>
              <a:gd name="connsiteX8" fmla="*/ 11520487 w 11521279"/>
              <a:gd name="connsiteY8" fmla="*/ 4618547 h 4618547"/>
              <a:gd name="connsiteX9" fmla="*/ 0 w 11521279"/>
              <a:gd name="connsiteY9" fmla="*/ 4618547 h 4618547"/>
              <a:gd name="connsiteX10" fmla="*/ 0 w 11521279"/>
              <a:gd name="connsiteY10" fmla="*/ 3664527 h 4618547"/>
              <a:gd name="connsiteX11" fmla="*/ 794 w 11521279"/>
              <a:gd name="connsiteY11" fmla="*/ 3664527 h 4618547"/>
              <a:gd name="connsiteX12" fmla="*/ 794 w 11521279"/>
              <a:gd name="connsiteY12" fmla="*/ 887647 h 4618547"/>
              <a:gd name="connsiteX13" fmla="*/ 9135095 w 11521279"/>
              <a:gd name="connsiteY13" fmla="*/ 0 h 4618547"/>
              <a:gd name="connsiteX0" fmla="*/ 9135095 w 11521279"/>
              <a:gd name="connsiteY0" fmla="*/ 4931 h 4623478"/>
              <a:gd name="connsiteX1" fmla="*/ 9178217 w 11521279"/>
              <a:gd name="connsiteY1" fmla="*/ 9127 h 4623478"/>
              <a:gd name="connsiteX2" fmla="*/ 9170644 w 11521279"/>
              <a:gd name="connsiteY2" fmla="*/ 0 h 4623478"/>
              <a:gd name="connsiteX3" fmla="*/ 11521279 w 11521279"/>
              <a:gd name="connsiteY3" fmla="*/ 265527 h 4623478"/>
              <a:gd name="connsiteX4" fmla="*/ 11521279 w 11521279"/>
              <a:gd name="connsiteY4" fmla="*/ 4335819 h 4623478"/>
              <a:gd name="connsiteX5" fmla="*/ 11520487 w 11521279"/>
              <a:gd name="connsiteY5" fmla="*/ 4335819 h 4623478"/>
              <a:gd name="connsiteX6" fmla="*/ 11520487 w 11521279"/>
              <a:gd name="connsiteY6" fmla="*/ 4336141 h 4623478"/>
              <a:gd name="connsiteX7" fmla="*/ 11520487 w 11521279"/>
              <a:gd name="connsiteY7" fmla="*/ 4622723 h 4623478"/>
              <a:gd name="connsiteX8" fmla="*/ 11520487 w 11521279"/>
              <a:gd name="connsiteY8" fmla="*/ 4623478 h 4623478"/>
              <a:gd name="connsiteX9" fmla="*/ 0 w 11521279"/>
              <a:gd name="connsiteY9" fmla="*/ 4623478 h 4623478"/>
              <a:gd name="connsiteX10" fmla="*/ 0 w 11521279"/>
              <a:gd name="connsiteY10" fmla="*/ 3669458 h 4623478"/>
              <a:gd name="connsiteX11" fmla="*/ 794 w 11521279"/>
              <a:gd name="connsiteY11" fmla="*/ 3669458 h 4623478"/>
              <a:gd name="connsiteX12" fmla="*/ 794 w 11521279"/>
              <a:gd name="connsiteY12" fmla="*/ 892578 h 4623478"/>
              <a:gd name="connsiteX13" fmla="*/ 9135095 w 11521279"/>
              <a:gd name="connsiteY13" fmla="*/ 4931 h 4623478"/>
              <a:gd name="connsiteX0" fmla="*/ 794 w 11521279"/>
              <a:gd name="connsiteY0" fmla="*/ 892578 h 4623478"/>
              <a:gd name="connsiteX1" fmla="*/ 9178217 w 11521279"/>
              <a:gd name="connsiteY1" fmla="*/ 9127 h 4623478"/>
              <a:gd name="connsiteX2" fmla="*/ 9170644 w 11521279"/>
              <a:gd name="connsiteY2" fmla="*/ 0 h 4623478"/>
              <a:gd name="connsiteX3" fmla="*/ 11521279 w 11521279"/>
              <a:gd name="connsiteY3" fmla="*/ 265527 h 4623478"/>
              <a:gd name="connsiteX4" fmla="*/ 11521279 w 11521279"/>
              <a:gd name="connsiteY4" fmla="*/ 4335819 h 4623478"/>
              <a:gd name="connsiteX5" fmla="*/ 11520487 w 11521279"/>
              <a:gd name="connsiteY5" fmla="*/ 4335819 h 4623478"/>
              <a:gd name="connsiteX6" fmla="*/ 11520487 w 11521279"/>
              <a:gd name="connsiteY6" fmla="*/ 4336141 h 4623478"/>
              <a:gd name="connsiteX7" fmla="*/ 11520487 w 11521279"/>
              <a:gd name="connsiteY7" fmla="*/ 4622723 h 4623478"/>
              <a:gd name="connsiteX8" fmla="*/ 11520487 w 11521279"/>
              <a:gd name="connsiteY8" fmla="*/ 4623478 h 4623478"/>
              <a:gd name="connsiteX9" fmla="*/ 0 w 11521279"/>
              <a:gd name="connsiteY9" fmla="*/ 4623478 h 4623478"/>
              <a:gd name="connsiteX10" fmla="*/ 0 w 11521279"/>
              <a:gd name="connsiteY10" fmla="*/ 3669458 h 4623478"/>
              <a:gd name="connsiteX11" fmla="*/ 794 w 11521279"/>
              <a:gd name="connsiteY11" fmla="*/ 3669458 h 4623478"/>
              <a:gd name="connsiteX12" fmla="*/ 794 w 11521279"/>
              <a:gd name="connsiteY12" fmla="*/ 892578 h 4623478"/>
              <a:gd name="connsiteX0" fmla="*/ 794 w 11521279"/>
              <a:gd name="connsiteY0" fmla="*/ 883451 h 4614351"/>
              <a:gd name="connsiteX1" fmla="*/ 9178217 w 11521279"/>
              <a:gd name="connsiteY1" fmla="*/ 0 h 4614351"/>
              <a:gd name="connsiteX2" fmla="*/ 9262084 w 11521279"/>
              <a:gd name="connsiteY2" fmla="*/ 52921 h 4614351"/>
              <a:gd name="connsiteX3" fmla="*/ 11521279 w 11521279"/>
              <a:gd name="connsiteY3" fmla="*/ 256400 h 4614351"/>
              <a:gd name="connsiteX4" fmla="*/ 11521279 w 11521279"/>
              <a:gd name="connsiteY4" fmla="*/ 4326692 h 4614351"/>
              <a:gd name="connsiteX5" fmla="*/ 11520487 w 11521279"/>
              <a:gd name="connsiteY5" fmla="*/ 4326692 h 4614351"/>
              <a:gd name="connsiteX6" fmla="*/ 11520487 w 11521279"/>
              <a:gd name="connsiteY6" fmla="*/ 4327014 h 4614351"/>
              <a:gd name="connsiteX7" fmla="*/ 11520487 w 11521279"/>
              <a:gd name="connsiteY7" fmla="*/ 4613596 h 4614351"/>
              <a:gd name="connsiteX8" fmla="*/ 11520487 w 11521279"/>
              <a:gd name="connsiteY8" fmla="*/ 4614351 h 4614351"/>
              <a:gd name="connsiteX9" fmla="*/ 0 w 11521279"/>
              <a:gd name="connsiteY9" fmla="*/ 4614351 h 4614351"/>
              <a:gd name="connsiteX10" fmla="*/ 0 w 11521279"/>
              <a:gd name="connsiteY10" fmla="*/ 3660331 h 4614351"/>
              <a:gd name="connsiteX11" fmla="*/ 794 w 11521279"/>
              <a:gd name="connsiteY11" fmla="*/ 3660331 h 4614351"/>
              <a:gd name="connsiteX12" fmla="*/ 794 w 11521279"/>
              <a:gd name="connsiteY12" fmla="*/ 883451 h 4614351"/>
              <a:gd name="connsiteX0" fmla="*/ 794 w 11521279"/>
              <a:gd name="connsiteY0" fmla="*/ 889983 h 4620883"/>
              <a:gd name="connsiteX1" fmla="*/ 9194546 w 11521279"/>
              <a:gd name="connsiteY1" fmla="*/ 0 h 4620883"/>
              <a:gd name="connsiteX2" fmla="*/ 9262084 w 11521279"/>
              <a:gd name="connsiteY2" fmla="*/ 59453 h 4620883"/>
              <a:gd name="connsiteX3" fmla="*/ 11521279 w 11521279"/>
              <a:gd name="connsiteY3" fmla="*/ 262932 h 4620883"/>
              <a:gd name="connsiteX4" fmla="*/ 11521279 w 11521279"/>
              <a:gd name="connsiteY4" fmla="*/ 4333224 h 4620883"/>
              <a:gd name="connsiteX5" fmla="*/ 11520487 w 11521279"/>
              <a:gd name="connsiteY5" fmla="*/ 4333224 h 4620883"/>
              <a:gd name="connsiteX6" fmla="*/ 11520487 w 11521279"/>
              <a:gd name="connsiteY6" fmla="*/ 4333546 h 4620883"/>
              <a:gd name="connsiteX7" fmla="*/ 11520487 w 11521279"/>
              <a:gd name="connsiteY7" fmla="*/ 4620128 h 4620883"/>
              <a:gd name="connsiteX8" fmla="*/ 11520487 w 11521279"/>
              <a:gd name="connsiteY8" fmla="*/ 4620883 h 4620883"/>
              <a:gd name="connsiteX9" fmla="*/ 0 w 11521279"/>
              <a:gd name="connsiteY9" fmla="*/ 4620883 h 4620883"/>
              <a:gd name="connsiteX10" fmla="*/ 0 w 11521279"/>
              <a:gd name="connsiteY10" fmla="*/ 3666863 h 4620883"/>
              <a:gd name="connsiteX11" fmla="*/ 794 w 11521279"/>
              <a:gd name="connsiteY11" fmla="*/ 3666863 h 4620883"/>
              <a:gd name="connsiteX12" fmla="*/ 794 w 11521279"/>
              <a:gd name="connsiteY12" fmla="*/ 889983 h 4620883"/>
              <a:gd name="connsiteX0" fmla="*/ 794 w 11521279"/>
              <a:gd name="connsiteY0" fmla="*/ 889983 h 4620883"/>
              <a:gd name="connsiteX1" fmla="*/ 9194546 w 11521279"/>
              <a:gd name="connsiteY1" fmla="*/ 0 h 4620883"/>
              <a:gd name="connsiteX2" fmla="*/ 11521279 w 11521279"/>
              <a:gd name="connsiteY2" fmla="*/ 262932 h 4620883"/>
              <a:gd name="connsiteX3" fmla="*/ 11521279 w 11521279"/>
              <a:gd name="connsiteY3" fmla="*/ 4333224 h 4620883"/>
              <a:gd name="connsiteX4" fmla="*/ 11520487 w 11521279"/>
              <a:gd name="connsiteY4" fmla="*/ 4333224 h 4620883"/>
              <a:gd name="connsiteX5" fmla="*/ 11520487 w 11521279"/>
              <a:gd name="connsiteY5" fmla="*/ 4333546 h 4620883"/>
              <a:gd name="connsiteX6" fmla="*/ 11520487 w 11521279"/>
              <a:gd name="connsiteY6" fmla="*/ 4620128 h 4620883"/>
              <a:gd name="connsiteX7" fmla="*/ 11520487 w 11521279"/>
              <a:gd name="connsiteY7" fmla="*/ 4620883 h 4620883"/>
              <a:gd name="connsiteX8" fmla="*/ 0 w 11521279"/>
              <a:gd name="connsiteY8" fmla="*/ 4620883 h 4620883"/>
              <a:gd name="connsiteX9" fmla="*/ 0 w 11521279"/>
              <a:gd name="connsiteY9" fmla="*/ 3666863 h 4620883"/>
              <a:gd name="connsiteX10" fmla="*/ 794 w 11521279"/>
              <a:gd name="connsiteY10" fmla="*/ 3666863 h 4620883"/>
              <a:gd name="connsiteX11" fmla="*/ 794 w 11521279"/>
              <a:gd name="connsiteY11" fmla="*/ 889983 h 4620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521279" h="4620883">
                <a:moveTo>
                  <a:pt x="794" y="889983"/>
                </a:moveTo>
                <a:lnTo>
                  <a:pt x="9194546" y="0"/>
                </a:lnTo>
                <a:lnTo>
                  <a:pt x="11521279" y="262932"/>
                </a:lnTo>
                <a:lnTo>
                  <a:pt x="11521279" y="4333224"/>
                </a:lnTo>
                <a:lnTo>
                  <a:pt x="11520487" y="4333224"/>
                </a:lnTo>
                <a:lnTo>
                  <a:pt x="11520487" y="4333546"/>
                </a:lnTo>
                <a:lnTo>
                  <a:pt x="11520487" y="4620128"/>
                </a:lnTo>
                <a:lnTo>
                  <a:pt x="11520487" y="4620883"/>
                </a:lnTo>
                <a:lnTo>
                  <a:pt x="0" y="4620883"/>
                </a:lnTo>
                <a:lnTo>
                  <a:pt x="0" y="3666863"/>
                </a:lnTo>
                <a:lnTo>
                  <a:pt x="794" y="3666863"/>
                </a:lnTo>
                <a:lnTo>
                  <a:pt x="794" y="88998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tIns="612000" bIns="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on icon and insert image</a:t>
            </a:r>
          </a:p>
        </p:txBody>
      </p:sp>
      <p:sp>
        <p:nvSpPr>
          <p:cNvPr id="9" name="Pladsholder til tekst 1"/>
          <p:cNvSpPr>
            <a:spLocks noGrp="1"/>
          </p:cNvSpPr>
          <p:nvPr>
            <p:ph type="body" sz="quarter" idx="13" hasCustomPrompt="1"/>
          </p:nvPr>
        </p:nvSpPr>
        <p:spPr>
          <a:xfrm>
            <a:off x="335756" y="5270498"/>
            <a:ext cx="8861425" cy="666000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90000"/>
              </a:lnSpc>
              <a:buNone/>
              <a:defRPr lang="da-DK" sz="4800" b="0" kern="120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dirty="0"/>
              <a:t>Headline (highlight with red text)</a:t>
            </a:r>
          </a:p>
        </p:txBody>
      </p:sp>
      <p:sp>
        <p:nvSpPr>
          <p:cNvPr id="11" name="Pladsholder til tekst 2"/>
          <p:cNvSpPr>
            <a:spLocks noGrp="1"/>
          </p:cNvSpPr>
          <p:nvPr>
            <p:ph type="body" sz="quarter" idx="15" hasCustomPrompt="1"/>
          </p:nvPr>
        </p:nvSpPr>
        <p:spPr>
          <a:xfrm>
            <a:off x="335756" y="6271200"/>
            <a:ext cx="4591050" cy="212400"/>
          </a:xfrm>
        </p:spPr>
        <p:txBody>
          <a:bodyPr anchor="b" anchorCtr="0"/>
          <a:lstStyle>
            <a:lvl1pPr marL="0" indent="0">
              <a:buNone/>
              <a:defRPr lang="da-DK" sz="1200" b="0" i="0" kern="1200" spc="60" baseline="0" dirty="0">
                <a:solidFill>
                  <a:schemeClr val="tx1"/>
                </a:solidFill>
                <a:latin typeface="Karbon" panose="02000000000000000000" pitchFamily="2" charset="0"/>
                <a:ea typeface="+mn-ea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Presenters full name, cit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</p:spPr>
        <p:txBody>
          <a:bodyPr vert="horz" lIns="0" tIns="0" rIns="0" bIns="0" rtlCol="0">
            <a:noAutofit/>
          </a:bodyPr>
          <a:lstStyle>
            <a:lvl1pPr>
              <a:defRPr lang="da-DK" sz="100" b="0" baseline="0">
                <a:noFill/>
              </a:defRPr>
            </a:lvl1pPr>
          </a:lstStyle>
          <a:p>
            <a:pPr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7020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6C32F758-B665-4BA1-9FF5-2B90572639DA}"/>
              </a:ext>
            </a:extLst>
          </p:cNvPr>
          <p:cNvSpPr/>
          <p:nvPr userDrawn="1"/>
        </p:nvSpPr>
        <p:spPr>
          <a:xfrm rot="16200000">
            <a:off x="10438052" y="-547321"/>
            <a:ext cx="495919" cy="2340462"/>
          </a:xfrm>
          <a:prstGeom prst="triangle">
            <a:avLst>
              <a:gd name="adj" fmla="val 5374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>
              <a:latin typeface="+mj-l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6E7D5D8-D413-41C4-8E55-AF44481457D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756" y="5983288"/>
            <a:ext cx="8861424" cy="2540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Insert </a:t>
            </a:r>
            <a:r>
              <a:rPr lang="en-GB" dirty="0" err="1"/>
              <a:t>subheadline</a:t>
            </a:r>
            <a:r>
              <a:rPr lang="en-GB" dirty="0"/>
              <a:t>, always grey</a:t>
            </a:r>
          </a:p>
        </p:txBody>
      </p:sp>
    </p:spTree>
    <p:extLst>
      <p:ext uri="{BB962C8B-B14F-4D97-AF65-F5344CB8AC3E}">
        <p14:creationId xmlns:p14="http://schemas.microsoft.com/office/powerpoint/2010/main" val="31441728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1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billede 1"/>
          <p:cNvSpPr>
            <a:spLocks noGrp="1"/>
          </p:cNvSpPr>
          <p:nvPr>
            <p:ph type="pic" sz="quarter" idx="16" hasCustomPrompt="1"/>
          </p:nvPr>
        </p:nvSpPr>
        <p:spPr>
          <a:xfrm>
            <a:off x="334963" y="1484313"/>
            <a:ext cx="11522075" cy="4537075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GB" dirty="0"/>
              <a:t>Click on icon and insert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D7BB4-08FA-4C76-A266-617B2EF13BF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2655C9-EBFD-4931-AC1D-B2A59E1CC6C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38EFD1-058E-444A-AEBB-25F3FA812F8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01138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2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0" name="Pladsholder til billede 1"/>
          <p:cNvSpPr>
            <a:spLocks noGrp="1"/>
          </p:cNvSpPr>
          <p:nvPr>
            <p:ph type="pic" sz="quarter" idx="16" hasCustomPrompt="1"/>
          </p:nvPr>
        </p:nvSpPr>
        <p:spPr>
          <a:xfrm>
            <a:off x="334964" y="1484313"/>
            <a:ext cx="5651500" cy="4537074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GB" dirty="0"/>
              <a:t>Click on icon and insert image</a:t>
            </a:r>
          </a:p>
        </p:txBody>
      </p:sp>
      <p:sp>
        <p:nvSpPr>
          <p:cNvPr id="12" name="Pladsholder til billede 1"/>
          <p:cNvSpPr>
            <a:spLocks noGrp="1"/>
          </p:cNvSpPr>
          <p:nvPr>
            <p:ph type="pic" sz="quarter" idx="17" hasCustomPrompt="1"/>
          </p:nvPr>
        </p:nvSpPr>
        <p:spPr>
          <a:xfrm>
            <a:off x="6198773" y="1484314"/>
            <a:ext cx="5651500" cy="4537074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GB" dirty="0"/>
              <a:t>Click on icon and insert imag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AC1E46-8A5E-4E44-9930-1F4FA08A747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1797D7-29EC-4CFE-B5C3-DE309DE8CD7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17718F-85FA-4B9D-9432-8480898E0C2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57220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icture 1X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idx="1" hasCustomPrompt="1"/>
          </p:nvPr>
        </p:nvSpPr>
        <p:spPr>
          <a:xfrm>
            <a:off x="334964" y="1484312"/>
            <a:ext cx="5651500" cy="453707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Pladsholder til billede 1"/>
          <p:cNvSpPr>
            <a:spLocks noGrp="1"/>
          </p:cNvSpPr>
          <p:nvPr>
            <p:ph type="pic" sz="quarter" idx="17" hasCustomPrompt="1"/>
          </p:nvPr>
        </p:nvSpPr>
        <p:spPr>
          <a:xfrm>
            <a:off x="6198773" y="1484314"/>
            <a:ext cx="5652000" cy="4537074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GB" dirty="0"/>
              <a:t>Click on icon and insert imag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107E1F-3B46-4C24-9E7B-79DB88185DB0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B4547E-CC73-45A0-8A16-050B3FFB19B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9136F4-AB7F-4BEF-9FCA-34AAB69BAD8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95582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icture 1X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9" name="Pladsholder til billede 1"/>
          <p:cNvSpPr>
            <a:spLocks noGrp="1"/>
          </p:cNvSpPr>
          <p:nvPr>
            <p:ph type="pic" sz="quarter" idx="17" hasCustomPrompt="1"/>
          </p:nvPr>
        </p:nvSpPr>
        <p:spPr>
          <a:xfrm>
            <a:off x="4281488" y="1484314"/>
            <a:ext cx="7575549" cy="4545012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GB" dirty="0"/>
              <a:t>Click on icon and insert im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ABCE10-DD39-4844-9E78-546808FC6E0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4963" y="1483200"/>
            <a:ext cx="3729437" cy="4546800"/>
          </a:xfrm>
        </p:spPr>
        <p:txBody>
          <a:bodyPr/>
          <a:lstStyle>
            <a:lvl5pPr>
              <a:defRPr/>
            </a:lvl5pPr>
            <a:lvl6pPr>
              <a:buNone/>
              <a:defRPr/>
            </a:lvl6pPr>
            <a:lvl7pPr>
              <a:buNone/>
              <a:defRPr/>
            </a:lvl7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ACACD5-799E-40E3-B601-81EB9F908B96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29A0DB-62B5-4DF2-BBB2-4B54FB13420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C1593CE-31FD-46EC-8A28-6FDA8C91E14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59771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4964" y="646112"/>
            <a:ext cx="7788274" cy="3186417"/>
          </a:xfrm>
        </p:spPr>
        <p:txBody>
          <a:bodyPr/>
          <a:lstStyle>
            <a:lvl1pPr>
              <a:defRPr sz="3600" b="0" i="0">
                <a:solidFill>
                  <a:schemeClr val="accent2"/>
                </a:solidFill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Pladsholder til tekst 2"/>
          <p:cNvSpPr>
            <a:spLocks noGrp="1"/>
          </p:cNvSpPr>
          <p:nvPr>
            <p:ph type="body" sz="quarter" idx="15" hasCustomPrompt="1"/>
          </p:nvPr>
        </p:nvSpPr>
        <p:spPr>
          <a:xfrm>
            <a:off x="334964" y="3982828"/>
            <a:ext cx="7788273" cy="212400"/>
          </a:xfrm>
        </p:spPr>
        <p:txBody>
          <a:bodyPr anchor="b" anchorCtr="0"/>
          <a:lstStyle>
            <a:lvl1pPr marL="0" indent="0">
              <a:buNone/>
              <a:defRPr lang="da-DK" sz="1400" b="0" kern="1200" baseline="0" dirty="0">
                <a:solidFill>
                  <a:schemeClr val="bg2"/>
                </a:solidFill>
                <a:latin typeface="Karbon Medium" pitchFamily="2" charset="0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and insert Name Surname</a:t>
            </a:r>
          </a:p>
        </p:txBody>
      </p:sp>
      <p:sp>
        <p:nvSpPr>
          <p:cNvPr id="12" name="Pladsholder til tekst 2"/>
          <p:cNvSpPr>
            <a:spLocks noGrp="1"/>
          </p:cNvSpPr>
          <p:nvPr>
            <p:ph type="body" sz="quarter" idx="20" hasCustomPrompt="1"/>
          </p:nvPr>
        </p:nvSpPr>
        <p:spPr>
          <a:xfrm>
            <a:off x="334964" y="4219051"/>
            <a:ext cx="7788273" cy="212400"/>
          </a:xfrm>
        </p:spPr>
        <p:txBody>
          <a:bodyPr anchor="t" anchorCtr="0"/>
          <a:lstStyle>
            <a:lvl1pPr marL="0" indent="0">
              <a:buNone/>
              <a:defRPr lang="da-DK" sz="14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D439FEB-F78B-4175-9B69-5FA9F14DA940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37696EA-0AC2-4C81-B8ED-7F33E821807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E6BBDC-4C7E-4CF1-AF18-E2C08C7EF13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55373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2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4964" y="646112"/>
            <a:ext cx="7788274" cy="3186417"/>
          </a:xfrm>
        </p:spPr>
        <p:txBody>
          <a:bodyPr/>
          <a:lstStyle>
            <a:lvl1pPr>
              <a:defRPr sz="3600" b="0" i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0" name="Pladsholder til tekst 2"/>
          <p:cNvSpPr>
            <a:spLocks noGrp="1"/>
          </p:cNvSpPr>
          <p:nvPr>
            <p:ph type="body" sz="quarter" idx="15" hasCustomPrompt="1"/>
          </p:nvPr>
        </p:nvSpPr>
        <p:spPr>
          <a:xfrm>
            <a:off x="334964" y="3982828"/>
            <a:ext cx="7788273" cy="212400"/>
          </a:xfrm>
        </p:spPr>
        <p:txBody>
          <a:bodyPr anchor="b" anchorCtr="0"/>
          <a:lstStyle>
            <a:lvl1pPr marL="0" indent="0">
              <a:buNone/>
              <a:defRPr lang="da-DK" sz="1400" b="0" i="0" kern="1200" baseline="0" dirty="0">
                <a:solidFill>
                  <a:schemeClr val="bg1"/>
                </a:solidFill>
                <a:latin typeface="Karbon Medium" pitchFamily="2" charset="0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and insert Name Surname</a:t>
            </a:r>
          </a:p>
        </p:txBody>
      </p:sp>
      <p:sp>
        <p:nvSpPr>
          <p:cNvPr id="12" name="Pladsholder til tekst 2"/>
          <p:cNvSpPr>
            <a:spLocks noGrp="1"/>
          </p:cNvSpPr>
          <p:nvPr>
            <p:ph type="body" sz="quarter" idx="20" hasCustomPrompt="1"/>
          </p:nvPr>
        </p:nvSpPr>
        <p:spPr>
          <a:xfrm>
            <a:off x="334964" y="4219051"/>
            <a:ext cx="7788273" cy="212400"/>
          </a:xfrm>
        </p:spPr>
        <p:txBody>
          <a:bodyPr anchor="t" anchorCtr="0"/>
          <a:lstStyle>
            <a:lvl1pPr marL="0" indent="0">
              <a:buNone/>
              <a:defRPr lang="da-DK" sz="1400" b="0" i="0" kern="1200" baseline="0" dirty="0">
                <a:solidFill>
                  <a:schemeClr val="bg1"/>
                </a:solidFill>
                <a:latin typeface="Karbon Medium" pitchFamily="2" charset="0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Title</a:t>
            </a:r>
          </a:p>
        </p:txBody>
      </p:sp>
      <p:pic>
        <p:nvPicPr>
          <p:cNvPr id="11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1438" y="6193862"/>
            <a:ext cx="1515599" cy="317774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79CFE27-14FD-421E-886F-4FBB96F4ADFD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C216131-F000-4901-87D9-56387AC13053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AC110C-8FC6-40A2-89B2-76864CC0C08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79720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Pictu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851CEC32-E511-430F-943A-2A928D4D1FB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4963" y="1483200"/>
            <a:ext cx="5651837" cy="4536000"/>
          </a:xfrm>
          <a:solidFill>
            <a:schemeClr val="accent3"/>
          </a:solidFill>
        </p:spPr>
        <p:txBody>
          <a:bodyPr lIns="216000" tIns="216000" rIns="216000" bIns="1886400"/>
          <a:lstStyle>
            <a:lvl5pPr>
              <a:defRPr/>
            </a:lvl5pPr>
            <a:lvl6pPr>
              <a:buNone/>
              <a:defRPr/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Pladsholder til billede 1"/>
          <p:cNvSpPr>
            <a:spLocks noGrp="1"/>
          </p:cNvSpPr>
          <p:nvPr>
            <p:ph type="pic" sz="quarter" idx="17" hasCustomPrompt="1"/>
          </p:nvPr>
        </p:nvSpPr>
        <p:spPr>
          <a:xfrm>
            <a:off x="6198773" y="1484314"/>
            <a:ext cx="5651837" cy="4537074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GB" dirty="0"/>
              <a:t>Click on icon and insert image</a:t>
            </a:r>
          </a:p>
        </p:txBody>
      </p:sp>
      <p:sp>
        <p:nvSpPr>
          <p:cNvPr id="12" name="Pladsholder til tekst 4"/>
          <p:cNvSpPr>
            <a:spLocks noGrp="1"/>
          </p:cNvSpPr>
          <p:nvPr>
            <p:ph type="body" sz="quarter" idx="18" hasCustomPrompt="1"/>
          </p:nvPr>
        </p:nvSpPr>
        <p:spPr>
          <a:xfrm>
            <a:off x="334627" y="4135438"/>
            <a:ext cx="5651837" cy="1885950"/>
          </a:xfrm>
          <a:noFill/>
        </p:spPr>
        <p:txBody>
          <a:bodyPr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62%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BBD1E94-90F4-4142-B90A-7D792EE58C6F}"/>
              </a:ext>
            </a:extLst>
          </p:cNvPr>
          <p:cNvSpPr>
            <a:spLocks noGrp="1"/>
          </p:cNvSpPr>
          <p:nvPr>
            <p:ph type="dt" sz="half" idx="34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8F5807-E28A-4520-80C3-D89B3E20A277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05767D-EE52-4863-87AF-B3B0B431EEE9}"/>
              </a:ext>
            </a:extLst>
          </p:cNvPr>
          <p:cNvSpPr>
            <a:spLocks noGrp="1"/>
          </p:cNvSpPr>
          <p:nvPr>
            <p:ph type="sldNum" sz="quarter" idx="36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64857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Tex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D5324DA-7E9B-446D-8E32-74E2EA4CAF4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4963" y="1483200"/>
            <a:ext cx="5651837" cy="4536000"/>
          </a:xfrm>
          <a:solidFill>
            <a:schemeClr val="accent3"/>
          </a:solidFill>
        </p:spPr>
        <p:txBody>
          <a:bodyPr lIns="216000" tIns="216000" rIns="216000" bIns="1886400"/>
          <a:lstStyle>
            <a:lvl5pPr>
              <a:defRPr/>
            </a:lvl5pPr>
            <a:lvl6pPr>
              <a:buNone/>
              <a:defRPr/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DEA79AA-AB77-4BCB-B83B-D0340CF4C50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99200" y="1483200"/>
            <a:ext cx="5651836" cy="4536000"/>
          </a:xfrm>
        </p:spPr>
        <p:txBody>
          <a:bodyPr lIns="216000" tIns="216000" rIns="216000" bIns="216000"/>
          <a:lstStyle>
            <a:lvl5pPr>
              <a:defRPr/>
            </a:lvl5pPr>
            <a:lvl6pPr>
              <a:buNone/>
              <a:defRPr/>
            </a:lvl6pPr>
            <a:lvl7pPr>
              <a:buNone/>
              <a:defRPr/>
            </a:lvl7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Pladsholder til tekst 9"/>
          <p:cNvSpPr>
            <a:spLocks noGrp="1"/>
          </p:cNvSpPr>
          <p:nvPr>
            <p:ph type="body" sz="quarter" idx="18" hasCustomPrompt="1"/>
          </p:nvPr>
        </p:nvSpPr>
        <p:spPr>
          <a:xfrm>
            <a:off x="334800" y="4135438"/>
            <a:ext cx="5652000" cy="1885950"/>
          </a:xfrm>
          <a:noFill/>
        </p:spPr>
        <p:txBody>
          <a:bodyPr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62%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66D52C-B17F-4BA7-ACB9-D3473246076F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8BE8D11-C24C-4F45-9E2B-9B343358A16D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6B1AB1-C0FF-483C-A4FA-721102A51EB1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96659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2X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55B8927-03FC-48FF-B85A-8AA99330890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4963" y="1483200"/>
            <a:ext cx="5651837" cy="4536000"/>
          </a:xfrm>
          <a:solidFill>
            <a:schemeClr val="accent3"/>
          </a:solidFill>
        </p:spPr>
        <p:txBody>
          <a:bodyPr lIns="216000" tIns="216000" rIns="216000" bIns="1886400"/>
          <a:lstStyle>
            <a:lvl5pPr>
              <a:defRPr/>
            </a:lvl5pPr>
            <a:lvl6pPr>
              <a:buNone/>
              <a:defRPr/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8321EC7-330E-44C3-948A-95E0D6637D1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99200" y="1483200"/>
            <a:ext cx="5652000" cy="4536000"/>
          </a:xfrm>
          <a:solidFill>
            <a:schemeClr val="accent3"/>
          </a:solidFill>
        </p:spPr>
        <p:txBody>
          <a:bodyPr lIns="216000" tIns="216000" rIns="216000" bIns="188640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Pladsholder til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334800" y="4135438"/>
            <a:ext cx="5652000" cy="1885950"/>
          </a:xfrm>
          <a:noFill/>
        </p:spPr>
        <p:txBody>
          <a:bodyPr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62%</a:t>
            </a:r>
          </a:p>
        </p:txBody>
      </p:sp>
      <p:sp>
        <p:nvSpPr>
          <p:cNvPr id="15" name="Pladsholder til tekst 6"/>
          <p:cNvSpPr>
            <a:spLocks noGrp="1"/>
          </p:cNvSpPr>
          <p:nvPr>
            <p:ph type="body" sz="quarter" idx="19" hasCustomPrompt="1"/>
          </p:nvPr>
        </p:nvSpPr>
        <p:spPr>
          <a:xfrm>
            <a:off x="6199200" y="4135438"/>
            <a:ext cx="5652000" cy="1885950"/>
          </a:xfrm>
          <a:noFill/>
        </p:spPr>
        <p:txBody>
          <a:bodyPr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62%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6ED80D-C570-42FB-A9D6-EE115C02A96D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18EF66-BD69-47D0-96AF-A332C16ECA6C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82F9174-8430-4D45-86FD-BC5A54A9C53F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63485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3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8DA1569A-EBCF-40DA-AD25-E0D5BC2BEC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4800" y="1483200"/>
            <a:ext cx="3621600" cy="4536000"/>
          </a:xfrm>
          <a:solidFill>
            <a:schemeClr val="accent3"/>
          </a:solidFill>
        </p:spPr>
        <p:txBody>
          <a:bodyPr lIns="216000" tIns="216000" rIns="216000" bIns="1886400"/>
          <a:lstStyle>
            <a:lvl5pPr>
              <a:defRPr/>
            </a:lvl5pPr>
            <a:lvl6pPr>
              <a:buNone/>
              <a:defRPr/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BD724CB-C930-4527-B17F-6B562E11238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285119" y="1483200"/>
            <a:ext cx="3621600" cy="4536000"/>
          </a:xfrm>
          <a:solidFill>
            <a:schemeClr val="accent3"/>
          </a:solidFill>
        </p:spPr>
        <p:txBody>
          <a:bodyPr lIns="216000" tIns="216000" rIns="216000" bIns="188640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18146656-6932-44B5-8BF0-5C5F1C0FEBB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235438" y="1483200"/>
            <a:ext cx="3621600" cy="4536000"/>
          </a:xfrm>
          <a:solidFill>
            <a:schemeClr val="accent3"/>
          </a:solidFill>
        </p:spPr>
        <p:txBody>
          <a:bodyPr lIns="216000" tIns="216000" rIns="216000" bIns="188640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Pladsholder til tekst 6"/>
          <p:cNvSpPr>
            <a:spLocks noGrp="1"/>
          </p:cNvSpPr>
          <p:nvPr>
            <p:ph type="body" sz="quarter" idx="17" hasCustomPrompt="1"/>
          </p:nvPr>
        </p:nvSpPr>
        <p:spPr>
          <a:xfrm>
            <a:off x="334800" y="4136400"/>
            <a:ext cx="3621600" cy="1885950"/>
          </a:xfrm>
          <a:noFill/>
        </p:spPr>
        <p:txBody>
          <a:bodyPr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16" name="Pladsholder til tekst 7"/>
          <p:cNvSpPr>
            <a:spLocks noGrp="1"/>
          </p:cNvSpPr>
          <p:nvPr>
            <p:ph type="body" sz="quarter" idx="19" hasCustomPrompt="1"/>
          </p:nvPr>
        </p:nvSpPr>
        <p:spPr>
          <a:xfrm>
            <a:off x="4285118" y="4136400"/>
            <a:ext cx="3621601" cy="1885950"/>
          </a:xfrm>
          <a:noFill/>
        </p:spPr>
        <p:txBody>
          <a:bodyPr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18" name="Pladsholder til tekst 8"/>
          <p:cNvSpPr>
            <a:spLocks noGrp="1"/>
          </p:cNvSpPr>
          <p:nvPr>
            <p:ph type="body" sz="quarter" idx="21" hasCustomPrompt="1"/>
          </p:nvPr>
        </p:nvSpPr>
        <p:spPr>
          <a:xfrm>
            <a:off x="8235438" y="4136400"/>
            <a:ext cx="3621600" cy="1885950"/>
          </a:xfrm>
          <a:noFill/>
        </p:spPr>
        <p:txBody>
          <a:bodyPr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5C4C2CE-F352-4BD6-BF53-694F31D51647}"/>
              </a:ext>
            </a:extLst>
          </p:cNvPr>
          <p:cNvSpPr>
            <a:spLocks noGrp="1"/>
          </p:cNvSpPr>
          <p:nvPr>
            <p:ph type="dt" sz="half" idx="3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237143-5B84-4F25-834C-53E43CE48BFB}"/>
              </a:ext>
            </a:extLst>
          </p:cNvPr>
          <p:cNvSpPr>
            <a:spLocks noGrp="1"/>
          </p:cNvSpPr>
          <p:nvPr>
            <p:ph type="ftr" sz="quarter" idx="3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742B0E-9002-455A-ABCE-020A4E97CF8A}"/>
              </a:ext>
            </a:extLst>
          </p:cNvPr>
          <p:cNvSpPr>
            <a:spLocks noGrp="1"/>
          </p:cNvSpPr>
          <p:nvPr>
            <p:ph type="sldNum" sz="quarter" idx="38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95319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ktangel 2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>
              <a:latin typeface="+mj-lt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2A92A65-A571-4B66-8C36-2CD684DF6E09}"/>
              </a:ext>
            </a:extLst>
          </p:cNvPr>
          <p:cNvCxnSpPr>
            <a:cxnSpLocks/>
          </p:cNvCxnSpPr>
          <p:nvPr userDrawn="1"/>
        </p:nvCxnSpPr>
        <p:spPr>
          <a:xfrm>
            <a:off x="334963" y="1150113"/>
            <a:ext cx="1152207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Insert text here</a:t>
            </a:r>
          </a:p>
        </p:txBody>
      </p:sp>
      <p:pic>
        <p:nvPicPr>
          <p:cNvPr id="24" name="Logo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1438" y="6193862"/>
            <a:ext cx="1515599" cy="317774"/>
          </a:xfrm>
          <a:prstGeom prst="rect">
            <a:avLst/>
          </a:prstGeom>
        </p:spPr>
      </p:pic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9BDC19-5855-4B0E-A760-F9B884768F54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334963" y="1484312"/>
            <a:ext cx="11522073" cy="4537075"/>
          </a:xfrm>
        </p:spPr>
        <p:txBody>
          <a:bodyPr/>
          <a:lstStyle>
            <a:lvl1pPr marL="180000" indent="-180000">
              <a:buFont typeface="+mj-lt"/>
              <a:buAutoNum type="arabicPeriod"/>
              <a:defRPr>
                <a:solidFill>
                  <a:schemeClr val="bg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 sz="2400">
                <a:solidFill>
                  <a:schemeClr val="bg1"/>
                </a:solidFill>
              </a:defRPr>
            </a:lvl3pPr>
            <a:lvl4pPr marL="0" indent="0">
              <a:buSzPct val="100000"/>
              <a:buFont typeface="Arial" panose="020B0604020202020204" pitchFamily="34" charset="0"/>
              <a:buChar char="​"/>
              <a:defRPr sz="2400">
                <a:solidFill>
                  <a:schemeClr val="accent3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A702F8A-F582-4F72-8D2A-CFF443107ADE}"/>
              </a:ext>
            </a:extLst>
          </p:cNvPr>
          <p:cNvSpPr>
            <a:spLocks noGrp="1"/>
          </p:cNvSpPr>
          <p:nvPr>
            <p:ph type="dt" sz="half" idx="6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5C7D64-F602-4B1D-99BB-C2C419131FC0}"/>
              </a:ext>
            </a:extLst>
          </p:cNvPr>
          <p:cNvSpPr>
            <a:spLocks noGrp="1"/>
          </p:cNvSpPr>
          <p:nvPr>
            <p:ph type="ftr" sz="quarter" idx="6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36835C-D937-4371-BCAF-7C0FDE62E561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41063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4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4963" y="646113"/>
            <a:ext cx="11522075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68F8E32-EAB9-4118-9AD9-E79BE9EB2C6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34963" y="1483200"/>
            <a:ext cx="2664000" cy="4536000"/>
          </a:xfrm>
          <a:solidFill>
            <a:schemeClr val="accent3"/>
          </a:solidFill>
        </p:spPr>
        <p:txBody>
          <a:bodyPr lIns="216000" tIns="216000" rIns="216000" bIns="0"/>
          <a:lstStyle>
            <a:lvl5pPr>
              <a:defRPr/>
            </a:lvl5pPr>
            <a:lvl6pPr>
              <a:buNone/>
              <a:defRPr/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3FAA9BB7-CC51-4021-AD27-31A53485EDE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288855" y="1483200"/>
            <a:ext cx="2664000" cy="4536000"/>
          </a:xfrm>
          <a:solidFill>
            <a:schemeClr val="accent3"/>
          </a:solidFill>
        </p:spPr>
        <p:txBody>
          <a:bodyPr lIns="216000" tIns="216000" rIns="216000" bIns="178920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0" name="Text Placeholder 10">
            <a:extLst>
              <a:ext uri="{FF2B5EF4-FFF2-40B4-BE49-F238E27FC236}">
                <a16:creationId xmlns:a16="http://schemas.microsoft.com/office/drawing/2014/main" id="{AEBEE0AD-7914-46C1-B209-E8109D86CA4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242747" y="1483200"/>
            <a:ext cx="2664000" cy="4536000"/>
          </a:xfrm>
          <a:solidFill>
            <a:schemeClr val="accent3"/>
          </a:solidFill>
        </p:spPr>
        <p:txBody>
          <a:bodyPr lIns="216000" tIns="216000" rIns="216000" bIns="178920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2E26DAB3-2418-4B5F-AAB0-F967BF13137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193038" y="1483200"/>
            <a:ext cx="2664000" cy="4536000"/>
          </a:xfrm>
          <a:solidFill>
            <a:schemeClr val="accent3"/>
          </a:solidFill>
        </p:spPr>
        <p:txBody>
          <a:bodyPr lIns="216000" tIns="216000" rIns="216000" bIns="1789200"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Pladsholder til tekst 7"/>
          <p:cNvSpPr>
            <a:spLocks noGrp="1"/>
          </p:cNvSpPr>
          <p:nvPr>
            <p:ph type="body" sz="quarter" idx="20" hasCustomPrompt="1"/>
          </p:nvPr>
        </p:nvSpPr>
        <p:spPr>
          <a:xfrm>
            <a:off x="334800" y="4136400"/>
            <a:ext cx="2664000" cy="1886400"/>
          </a:xfrm>
          <a:noFill/>
        </p:spPr>
        <p:txBody>
          <a:bodyPr wrap="square"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1</a:t>
            </a:r>
          </a:p>
        </p:txBody>
      </p:sp>
      <p:sp>
        <p:nvSpPr>
          <p:cNvPr id="21" name="Pladsholder til tekst 8"/>
          <p:cNvSpPr>
            <a:spLocks noGrp="1"/>
          </p:cNvSpPr>
          <p:nvPr>
            <p:ph type="body" sz="quarter" idx="22" hasCustomPrompt="1"/>
          </p:nvPr>
        </p:nvSpPr>
        <p:spPr>
          <a:xfrm>
            <a:off x="3288855" y="4136400"/>
            <a:ext cx="2664000" cy="1886400"/>
          </a:xfrm>
          <a:noFill/>
        </p:spPr>
        <p:txBody>
          <a:bodyPr wrap="square"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2</a:t>
            </a:r>
          </a:p>
        </p:txBody>
      </p:sp>
      <p:sp>
        <p:nvSpPr>
          <p:cNvPr id="23" name="Pladsholder til tekst 9"/>
          <p:cNvSpPr>
            <a:spLocks noGrp="1"/>
          </p:cNvSpPr>
          <p:nvPr>
            <p:ph type="body" sz="quarter" idx="24" hasCustomPrompt="1"/>
          </p:nvPr>
        </p:nvSpPr>
        <p:spPr>
          <a:xfrm>
            <a:off x="6242747" y="4136400"/>
            <a:ext cx="2664000" cy="1886400"/>
          </a:xfrm>
          <a:noFill/>
        </p:spPr>
        <p:txBody>
          <a:bodyPr wrap="square" lIns="144000" tIns="0" rIns="144000" bIns="0" anchor="b" anchorCtr="0"/>
          <a:lstStyle>
            <a:lvl1pPr marL="0" indent="0"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3</a:t>
            </a:r>
          </a:p>
        </p:txBody>
      </p:sp>
      <p:sp>
        <p:nvSpPr>
          <p:cNvPr id="25" name="Pladsholder til tekst 10"/>
          <p:cNvSpPr>
            <a:spLocks noGrp="1"/>
          </p:cNvSpPr>
          <p:nvPr>
            <p:ph type="body" sz="quarter" idx="26" hasCustomPrompt="1"/>
          </p:nvPr>
        </p:nvSpPr>
        <p:spPr>
          <a:xfrm>
            <a:off x="9193038" y="4136400"/>
            <a:ext cx="2664000" cy="1886400"/>
          </a:xfrm>
          <a:noFill/>
        </p:spPr>
        <p:txBody>
          <a:bodyPr wrap="square" lIns="144000" tIns="0" rIns="144000" bIns="0" anchor="b" anchorCtr="0"/>
          <a:lstStyle>
            <a:lvl1pPr algn="l">
              <a:lnSpc>
                <a:spcPct val="50000"/>
              </a:lnSpc>
              <a:spcBef>
                <a:spcPts val="0"/>
              </a:spcBef>
              <a:buNone/>
              <a:defRPr sz="13800" b="0">
                <a:solidFill>
                  <a:schemeClr val="accent2"/>
                </a:solidFill>
                <a:latin typeface="+mn-lt"/>
              </a:defRPr>
            </a:lvl1pPr>
            <a:lvl2pPr>
              <a:defRPr sz="14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 dirty="0"/>
              <a:t>4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0B1E79-45EF-4BD6-A8D4-FCE335F57876}"/>
              </a:ext>
            </a:extLst>
          </p:cNvPr>
          <p:cNvSpPr>
            <a:spLocks noGrp="1"/>
          </p:cNvSpPr>
          <p:nvPr>
            <p:ph type="dt" sz="half" idx="3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25DF6C-D192-4F9E-BB3F-599690F27CE7}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6EC387-415C-4D45-A0E9-79AF666C9991}"/>
              </a:ext>
            </a:extLst>
          </p:cNvPr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74556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4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4963" y="646113"/>
            <a:ext cx="11522075" cy="504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5" name="Pladsholder til billede 1"/>
          <p:cNvSpPr>
            <a:spLocks noGrp="1"/>
          </p:cNvSpPr>
          <p:nvPr>
            <p:ph type="pic" sz="quarter" idx="17"/>
          </p:nvPr>
        </p:nvSpPr>
        <p:spPr>
          <a:xfrm>
            <a:off x="334800" y="1793875"/>
            <a:ext cx="2664000" cy="1693544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Pladsholder til billede 1"/>
          <p:cNvSpPr>
            <a:spLocks noGrp="1"/>
          </p:cNvSpPr>
          <p:nvPr>
            <p:ph type="pic" sz="quarter" idx="19"/>
          </p:nvPr>
        </p:nvSpPr>
        <p:spPr>
          <a:xfrm>
            <a:off x="3287546" y="1793875"/>
            <a:ext cx="2664000" cy="1693544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Pladsholder til billede 1"/>
          <p:cNvSpPr>
            <a:spLocks noGrp="1"/>
          </p:cNvSpPr>
          <p:nvPr>
            <p:ph type="pic" sz="quarter" idx="21"/>
          </p:nvPr>
        </p:nvSpPr>
        <p:spPr>
          <a:xfrm>
            <a:off x="6240292" y="1793875"/>
            <a:ext cx="2664000" cy="1693544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3" name="Pladsholder til billede 1"/>
          <p:cNvSpPr>
            <a:spLocks noGrp="1"/>
          </p:cNvSpPr>
          <p:nvPr>
            <p:ph type="pic" sz="quarter" idx="23"/>
          </p:nvPr>
        </p:nvSpPr>
        <p:spPr>
          <a:xfrm>
            <a:off x="9193038" y="1793875"/>
            <a:ext cx="2664000" cy="1693544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0088B0C-DCAF-49C6-81F2-CD1EC21C6B7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4963" y="3610800"/>
            <a:ext cx="2664000" cy="21096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1pPr>
            <a:lvl5pPr>
              <a:defRPr/>
            </a:lvl5pPr>
            <a:lvl6pPr>
              <a:buNone/>
              <a:defRPr/>
            </a:lvl6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EEB672F-426D-4608-A4AF-5EB99E267ED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287546" y="3610800"/>
            <a:ext cx="2664000" cy="21096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E28FF1-EA37-40BE-B30B-66C96602C2F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40292" y="3610800"/>
            <a:ext cx="2664000" cy="21096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7D539EC-4016-47EE-8C74-E8984D8F35A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193038" y="3610800"/>
            <a:ext cx="2664000" cy="21096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6FDA6F5-2B87-41D5-BD32-E8F352BFE9D0}"/>
              </a:ext>
            </a:extLst>
          </p:cNvPr>
          <p:cNvSpPr>
            <a:spLocks noGrp="1"/>
          </p:cNvSpPr>
          <p:nvPr>
            <p:ph type="dt" sz="half" idx="3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0CEDAC-F3E0-43CC-BD93-5BE9ACFD7303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B894510-64E8-4FAE-8607-DBCAD148C77E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87801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85863" y="3041166"/>
            <a:ext cx="9820275" cy="890754"/>
          </a:xfrm>
        </p:spPr>
        <p:txBody>
          <a:bodyPr/>
          <a:lstStyle>
            <a:lvl1pPr algn="ctr">
              <a:defRPr sz="56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8" name="Tekstfelt 5"/>
          <p:cNvSpPr txBox="1"/>
          <p:nvPr userDrawn="1"/>
        </p:nvSpPr>
        <p:spPr>
          <a:xfrm>
            <a:off x="334963" y="6353514"/>
            <a:ext cx="1286448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0" dirty="0">
                <a:solidFill>
                  <a:schemeClr val="tx1"/>
                </a:solidFill>
              </a:rPr>
              <a:t>3shape.com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CB3AF17-FAA1-4BDB-833E-7E7A583A1E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6858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0089DC-CA69-4AFD-98BC-254F349A20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38000" y="6084000"/>
            <a:ext cx="5317200" cy="370800"/>
          </a:xfrm>
        </p:spPr>
        <p:txBody>
          <a:bodyPr/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3A6722-0F7D-40A1-961B-ECD1430EC0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876000"/>
            <a:ext cx="0" cy="0"/>
          </a:xfrm>
        </p:spPr>
        <p:txBody>
          <a:bodyPr/>
          <a:lstStyle>
            <a:lvl1pPr>
              <a:defRPr sz="100"/>
            </a:lvl1pPr>
          </a:lstStyle>
          <a:p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549287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9F6B6AE-B90F-468A-AABF-53F037AD2B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80E2286-723B-43B9-A563-19A376DD4D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AF880E-CB9B-44AE-9B36-973717EA9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26032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BC4E0B-0DFA-4797-B3CC-A9FCF260B7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83F81E-815A-4A25-8778-C303806868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9A2FA0-5B50-43BF-BC5A-1B9F867EB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77731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Tite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6396EC7-0573-42B8-A7DA-D1D23ADD138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35757" y="605916"/>
            <a:ext cx="11520485" cy="4330888"/>
          </a:xfrm>
          <a:custGeom>
            <a:avLst/>
            <a:gdLst>
              <a:gd name="connsiteX0" fmla="*/ 9134301 w 11520485"/>
              <a:gd name="connsiteY0" fmla="*/ 0 h 4330888"/>
              <a:gd name="connsiteX1" fmla="*/ 9177423 w 11520485"/>
              <a:gd name="connsiteY1" fmla="*/ 4196 h 4330888"/>
              <a:gd name="connsiteX2" fmla="*/ 9169850 w 11520485"/>
              <a:gd name="connsiteY2" fmla="*/ 4866 h 4330888"/>
              <a:gd name="connsiteX3" fmla="*/ 11520485 w 11520485"/>
              <a:gd name="connsiteY3" fmla="*/ 260596 h 4330888"/>
              <a:gd name="connsiteX4" fmla="*/ 11520485 w 11520485"/>
              <a:gd name="connsiteY4" fmla="*/ 4330888 h 4330888"/>
              <a:gd name="connsiteX5" fmla="*/ 0 w 11520485"/>
              <a:gd name="connsiteY5" fmla="*/ 4330888 h 4330888"/>
              <a:gd name="connsiteX6" fmla="*/ 0 w 11520485"/>
              <a:gd name="connsiteY6" fmla="*/ 897445 h 4330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520485" h="4330888">
                <a:moveTo>
                  <a:pt x="9134301" y="0"/>
                </a:moveTo>
                <a:lnTo>
                  <a:pt x="9177423" y="4196"/>
                </a:lnTo>
                <a:lnTo>
                  <a:pt x="9169850" y="4866"/>
                </a:lnTo>
                <a:lnTo>
                  <a:pt x="11520485" y="260596"/>
                </a:lnTo>
                <a:lnTo>
                  <a:pt x="11520485" y="4330888"/>
                </a:lnTo>
                <a:lnTo>
                  <a:pt x="0" y="4330888"/>
                </a:lnTo>
                <a:lnTo>
                  <a:pt x="0" y="897445"/>
                </a:lnTo>
                <a:close/>
              </a:path>
            </a:pathLst>
          </a:custGeom>
          <a:noFill/>
        </p:spPr>
        <p:txBody>
          <a:bodyPr wrap="square" tIns="612000" bIns="0" anchor="ctr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en-GB" dirty="0"/>
              <a:t>Click on icon and insert image</a:t>
            </a:r>
          </a:p>
        </p:txBody>
      </p:sp>
      <p:sp>
        <p:nvSpPr>
          <p:cNvPr id="9" name="Pladsholder til tekst 1"/>
          <p:cNvSpPr>
            <a:spLocks noGrp="1"/>
          </p:cNvSpPr>
          <p:nvPr>
            <p:ph type="body" sz="quarter" idx="13" hasCustomPrompt="1"/>
          </p:nvPr>
        </p:nvSpPr>
        <p:spPr>
          <a:xfrm>
            <a:off x="335756" y="4936804"/>
            <a:ext cx="8861425" cy="999694"/>
          </a:xfrm>
        </p:spPr>
        <p:txBody>
          <a:bodyPr anchor="b" anchorCtr="0">
            <a:noAutofit/>
          </a:bodyPr>
          <a:lstStyle>
            <a:lvl1pPr marL="0" indent="0" algn="l">
              <a:lnSpc>
                <a:spcPct val="85000"/>
              </a:lnSpc>
              <a:buNone/>
              <a:defRPr lang="da-DK" sz="3600" b="0" kern="120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dirty="0"/>
              <a:t>Headline (highlight with red text)</a:t>
            </a:r>
          </a:p>
        </p:txBody>
      </p:sp>
      <p:sp>
        <p:nvSpPr>
          <p:cNvPr id="11" name="Pladsholder til tekst 2"/>
          <p:cNvSpPr>
            <a:spLocks noGrp="1"/>
          </p:cNvSpPr>
          <p:nvPr>
            <p:ph type="body" sz="quarter" idx="15" hasCustomPrompt="1"/>
          </p:nvPr>
        </p:nvSpPr>
        <p:spPr>
          <a:xfrm>
            <a:off x="335756" y="6271200"/>
            <a:ext cx="4591050" cy="212400"/>
          </a:xfrm>
        </p:spPr>
        <p:txBody>
          <a:bodyPr anchor="b" anchorCtr="0"/>
          <a:lstStyle>
            <a:lvl1pPr marL="0" indent="0">
              <a:buNone/>
              <a:defRPr lang="da-DK" sz="1200" b="0" i="0" kern="1200" spc="60" baseline="0" dirty="0">
                <a:solidFill>
                  <a:schemeClr val="tx1"/>
                </a:solidFill>
                <a:latin typeface="Karbon" panose="02000000000000000000" pitchFamily="2" charset="0"/>
                <a:ea typeface="+mn-ea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Presenters full name, cit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</p:spPr>
        <p:txBody>
          <a:bodyPr vert="horz" lIns="0" tIns="0" rIns="0" bIns="0" rtlCol="0">
            <a:noAutofit/>
          </a:bodyPr>
          <a:lstStyle>
            <a:lvl1pPr>
              <a:defRPr lang="da-DK" sz="100" b="0" baseline="0">
                <a:noFill/>
              </a:defRPr>
            </a:lvl1pPr>
          </a:lstStyle>
          <a:p>
            <a:pPr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7020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22" name="Isosceles Triangle 21">
            <a:extLst>
              <a:ext uri="{FF2B5EF4-FFF2-40B4-BE49-F238E27FC236}">
                <a16:creationId xmlns:a16="http://schemas.microsoft.com/office/drawing/2014/main" id="{6C32F758-B665-4BA1-9FF5-2B90572639DA}"/>
              </a:ext>
            </a:extLst>
          </p:cNvPr>
          <p:cNvSpPr/>
          <p:nvPr userDrawn="1"/>
        </p:nvSpPr>
        <p:spPr>
          <a:xfrm rot="16200000">
            <a:off x="10438052" y="-547321"/>
            <a:ext cx="495919" cy="2340462"/>
          </a:xfrm>
          <a:prstGeom prst="triangle">
            <a:avLst>
              <a:gd name="adj" fmla="val 5374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>
              <a:latin typeface="+mj-l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16E7D5D8-D413-41C4-8E55-AF44481457D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5756" y="5983288"/>
            <a:ext cx="8861424" cy="254000"/>
          </a:xfrm>
        </p:spPr>
        <p:txBody>
          <a:bodyPr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Insert sub headline, always grey</a:t>
            </a:r>
          </a:p>
        </p:txBody>
      </p:sp>
    </p:spTree>
    <p:extLst>
      <p:ext uri="{BB962C8B-B14F-4D97-AF65-F5344CB8AC3E}">
        <p14:creationId xmlns:p14="http://schemas.microsoft.com/office/powerpoint/2010/main" val="20066441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Conta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4963" y="713048"/>
            <a:ext cx="11522075" cy="504000"/>
          </a:xfrm>
        </p:spPr>
        <p:txBody>
          <a:bodyPr anchor="t"/>
          <a:lstStyle>
            <a:lvl1pPr>
              <a:defRPr sz="2800" baseline="0"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334963" y="1484312"/>
            <a:ext cx="11522075" cy="45370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C25CA9-3DF4-48FA-B044-7735561D9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291DD0-AF3C-42FA-BBB1-1BBFEA6402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33EA52-6882-4950-9C12-7B738AFC1B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24137F5-5F98-4967-A912-C237CA947A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480483"/>
            <a:ext cx="11522076" cy="216000"/>
          </a:xfr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trumpet</a:t>
            </a:r>
          </a:p>
        </p:txBody>
      </p:sp>
    </p:spTree>
    <p:extLst>
      <p:ext uri="{BB962C8B-B14F-4D97-AF65-F5344CB8AC3E}">
        <p14:creationId xmlns:p14="http://schemas.microsoft.com/office/powerpoint/2010/main" val="31134808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idx="1" hasCustomPrompt="1"/>
          </p:nvPr>
        </p:nvSpPr>
        <p:spPr>
          <a:xfrm>
            <a:off x="334964" y="1484312"/>
            <a:ext cx="5651500" cy="45370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idx="14" hasCustomPrompt="1"/>
          </p:nvPr>
        </p:nvSpPr>
        <p:spPr>
          <a:xfrm>
            <a:off x="6207125" y="1484312"/>
            <a:ext cx="5649911" cy="45370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6CCBB8-6ADE-4933-9830-8026F43B557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6C02B3-AFEB-4213-93F1-5CF34B3D7C4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EF0321-3AA7-4C3D-BC2C-36E381773D7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33E1CFF-616A-4523-939E-63BB99ABB7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713048"/>
            <a:ext cx="11522076" cy="504000"/>
          </a:xfrm>
        </p:spPr>
        <p:txBody>
          <a:bodyPr anchor="t"/>
          <a:lstStyle>
            <a:lvl1pPr>
              <a:defRPr sz="2800" baseline="0"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16B52BDE-B53D-426D-AE2F-F8A74FF2CB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1" y="480483"/>
            <a:ext cx="11522077" cy="216000"/>
          </a:xfr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trumpet</a:t>
            </a:r>
          </a:p>
        </p:txBody>
      </p:sp>
    </p:spTree>
    <p:extLst>
      <p:ext uri="{BB962C8B-B14F-4D97-AF65-F5344CB8AC3E}">
        <p14:creationId xmlns:p14="http://schemas.microsoft.com/office/powerpoint/2010/main" val="22053657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9F6B6AE-B90F-468A-AABF-53F037AD2B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80E2286-723B-43B9-A563-19A376DD4D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AF880E-CB9B-44AE-9B36-973717EA9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AEFE4A1-F826-4BED-9CA0-4ECFC1897F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713048"/>
            <a:ext cx="11522075" cy="504000"/>
          </a:xfrm>
        </p:spPr>
        <p:txBody>
          <a:bodyPr anchor="t"/>
          <a:lstStyle>
            <a:lvl1pPr>
              <a:defRPr sz="2800" baseline="0"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20F98E4-1780-455B-BD4C-6D8AD25F3F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480483"/>
            <a:ext cx="11522076" cy="216000"/>
          </a:xfrm>
        </p:spPr>
        <p:txBody>
          <a:bodyPr anchor="b" anchorCtr="0"/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Insert trumpet</a:t>
            </a:r>
          </a:p>
        </p:txBody>
      </p:sp>
    </p:spTree>
    <p:extLst>
      <p:ext uri="{BB962C8B-B14F-4D97-AF65-F5344CB8AC3E}">
        <p14:creationId xmlns:p14="http://schemas.microsoft.com/office/powerpoint/2010/main" val="22250223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Header"/>
          <p:cNvSpPr txBox="1"/>
          <p:nvPr userDrawn="1"/>
        </p:nvSpPr>
        <p:spPr>
          <a:xfrm>
            <a:off x="334964" y="539750"/>
            <a:ext cx="11314110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3200" dirty="0">
                <a:solidFill>
                  <a:schemeClr val="accent1"/>
                </a:solidFill>
              </a:rPr>
              <a:t>User guide (I)– </a:t>
            </a:r>
            <a:r>
              <a:rPr lang="en-GB" sz="3200" dirty="0"/>
              <a:t>delete before use</a:t>
            </a:r>
            <a:endParaRPr lang="en-GB" sz="1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Box 2">
            <a:extLst>
              <a:ext uri="{FF2B5EF4-FFF2-40B4-BE49-F238E27FC236}">
                <a16:creationId xmlns:a16="http://schemas.microsoft.com/office/drawing/2014/main" id="{A6BEA015-E966-4A15-83C4-026B3A368AF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34964" y="1440785"/>
            <a:ext cx="2265575" cy="4539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GB" sz="11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GB" sz="11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11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11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11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11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11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11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1200"/>
              </a:spcAft>
              <a:defRPr/>
            </a:pPr>
            <a:r>
              <a:rPr lang="en-GB" altLang="da-DK" sz="11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11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sz="11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1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11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11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insert new sli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en-GB" altLang="da-DK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op down</a:t>
            </a:r>
            <a:r>
              <a:rPr lang="en-GB" altLang="da-DK" sz="11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menu 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11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11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en-GB" altLang="da-DK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</a:t>
            </a:r>
            <a:br>
              <a:rPr lang="en-GB" altLang="da-DK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Box 3">
            <a:extLst>
              <a:ext uri="{FF2B5EF4-FFF2-40B4-BE49-F238E27FC236}">
                <a16:creationId xmlns:a16="http://schemas.microsoft.com/office/drawing/2014/main" id="{9B46EBC7-A2CB-476B-A412-97975D1EDBF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498494" y="1440785"/>
            <a:ext cx="2160798" cy="4385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icon and choose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.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this happens, select the picture,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view drawing gu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, set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ck mark next to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11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ing of guides</a:t>
            </a:r>
            <a:endParaRPr lang="en-GB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4">
            <a:extLst>
              <a:ext uri="{FF2B5EF4-FFF2-40B4-BE49-F238E27FC236}">
                <a16:creationId xmlns:a16="http://schemas.microsoft.com/office/drawing/2014/main" id="{C9BDF7A5-C97A-4550-B857-F78B9805CE8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925241" y="1441972"/>
            <a:ext cx="2160798" cy="224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, so you get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l the correction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11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To delete all deselect Slide number and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4.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</a:t>
            </a:r>
            <a:b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</a:p>
        </p:txBody>
      </p:sp>
      <p:pic>
        <p:nvPicPr>
          <p:cNvPr id="20" name="1 Increase decrease">
            <a:extLst>
              <a:ext uri="{FF2B5EF4-FFF2-40B4-BE49-F238E27FC236}">
                <a16:creationId xmlns:a16="http://schemas.microsoft.com/office/drawing/2014/main" id="{E73B9523-7B92-4F4F-A6D5-96EECD1AAF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32352" y="2246001"/>
            <a:ext cx="575965" cy="251412"/>
          </a:xfrm>
          <a:prstGeom prst="rect">
            <a:avLst/>
          </a:prstGeom>
        </p:spPr>
      </p:pic>
      <p:pic>
        <p:nvPicPr>
          <p:cNvPr id="22" name="2 New picture">
            <a:extLst>
              <a:ext uri="{FF2B5EF4-FFF2-40B4-BE49-F238E27FC236}">
                <a16:creationId xmlns:a16="http://schemas.microsoft.com/office/drawing/2014/main" id="{A09B450D-1418-4592-AECD-C133DD7782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524260" y="3469440"/>
            <a:ext cx="340512" cy="509683"/>
          </a:xfrm>
          <a:prstGeom prst="rect">
            <a:avLst/>
          </a:prstGeom>
        </p:spPr>
      </p:pic>
      <p:pic>
        <p:nvPicPr>
          <p:cNvPr id="24" name="3 Layout">
            <a:extLst>
              <a:ext uri="{FF2B5EF4-FFF2-40B4-BE49-F238E27FC236}">
                <a16:creationId xmlns:a16="http://schemas.microsoft.com/office/drawing/2014/main" id="{0E43F346-3664-476A-B05D-4DE0D33FA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2364351" y="4186669"/>
            <a:ext cx="622140" cy="169423"/>
          </a:xfrm>
          <a:prstGeom prst="rect">
            <a:avLst/>
          </a:prstGeom>
        </p:spPr>
      </p:pic>
      <p:pic>
        <p:nvPicPr>
          <p:cNvPr id="26" name="4 Reset">
            <a:extLst>
              <a:ext uri="{FF2B5EF4-FFF2-40B4-BE49-F238E27FC236}">
                <a16:creationId xmlns:a16="http://schemas.microsoft.com/office/drawing/2014/main" id="{A044E1E7-6640-428A-8165-4DE417225C9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456957" y="4925638"/>
            <a:ext cx="516331" cy="176655"/>
          </a:xfrm>
          <a:prstGeom prst="rect">
            <a:avLst/>
          </a:prstGeom>
        </p:spPr>
      </p:pic>
      <p:pic>
        <p:nvPicPr>
          <p:cNvPr id="27" name="5 Insert picture">
            <a:extLst>
              <a:ext uri="{FF2B5EF4-FFF2-40B4-BE49-F238E27FC236}">
                <a16:creationId xmlns:a16="http://schemas.microsoft.com/office/drawing/2014/main" id="{3A2B661D-749A-43BE-8FCF-C3795545595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25716" y="1682083"/>
            <a:ext cx="262151" cy="256054"/>
          </a:xfrm>
          <a:prstGeom prst="rect">
            <a:avLst/>
          </a:prstGeom>
        </p:spPr>
      </p:pic>
      <p:pic>
        <p:nvPicPr>
          <p:cNvPr id="30" name="6 Crop">
            <a:extLst>
              <a:ext uri="{FF2B5EF4-FFF2-40B4-BE49-F238E27FC236}">
                <a16:creationId xmlns:a16="http://schemas.microsoft.com/office/drawing/2014/main" id="{B763CF1A-0A64-4D48-9C39-A0FDC9677B4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444448" y="2469705"/>
            <a:ext cx="337400" cy="321707"/>
          </a:xfrm>
          <a:prstGeom prst="rect">
            <a:avLst/>
          </a:prstGeom>
        </p:spPr>
      </p:pic>
      <p:pic>
        <p:nvPicPr>
          <p:cNvPr id="31" name="7 Scale picture">
            <a:extLst>
              <a:ext uri="{FF2B5EF4-FFF2-40B4-BE49-F238E27FC236}">
                <a16:creationId xmlns:a16="http://schemas.microsoft.com/office/drawing/2014/main" id="{D95D9D4D-392F-45C5-B306-503B39E8D1F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403103" y="2916070"/>
            <a:ext cx="359695" cy="335309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F75D2839-8D2C-41CE-96CA-C2D4693CA90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925239" y="3946967"/>
            <a:ext cx="3355173" cy="1988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7118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Insert text her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C304944-509C-4A48-A422-33C9A603A5DD}"/>
              </a:ext>
            </a:extLst>
          </p:cNvPr>
          <p:cNvCxnSpPr/>
          <p:nvPr userDrawn="1"/>
        </p:nvCxnSpPr>
        <p:spPr>
          <a:xfrm>
            <a:off x="334800" y="1150113"/>
            <a:ext cx="11523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19BDC19-5855-4B0E-A760-F9B884768F54}"/>
              </a:ext>
            </a:extLst>
          </p:cNvPr>
          <p:cNvSpPr>
            <a:spLocks noGrp="1"/>
          </p:cNvSpPr>
          <p:nvPr>
            <p:ph sz="quarter" idx="64" hasCustomPrompt="1"/>
          </p:nvPr>
        </p:nvSpPr>
        <p:spPr>
          <a:xfrm>
            <a:off x="334964" y="1484312"/>
            <a:ext cx="11522074" cy="4537075"/>
          </a:xfrm>
        </p:spPr>
        <p:txBody>
          <a:bodyPr/>
          <a:lstStyle>
            <a:lvl1pPr marL="180000" indent="-180000">
              <a:buFont typeface="+mj-lt"/>
              <a:buAutoNum type="arabicPeriod"/>
              <a:defRPr>
                <a:solidFill>
                  <a:schemeClr val="tx1"/>
                </a:solidFill>
              </a:defRPr>
            </a:lvl1pPr>
            <a:lvl2pPr marL="180000" indent="-180000"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60000">
              <a:defRPr>
                <a:solidFill>
                  <a:schemeClr val="tx1"/>
                </a:solidFill>
              </a:defRPr>
            </a:lvl3pPr>
            <a:lvl4pPr marL="360000" indent="-180000">
              <a:buSzPct val="100000"/>
              <a:buFont typeface="+mj-lt"/>
              <a:buAutoNum type="alphaLcPeriod"/>
              <a:defRPr sz="1800">
                <a:solidFill>
                  <a:schemeClr val="accent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F984572-B560-446D-A6AA-ED5FC29D6D77}"/>
              </a:ext>
            </a:extLst>
          </p:cNvPr>
          <p:cNvSpPr>
            <a:spLocks noGrp="1"/>
          </p:cNvSpPr>
          <p:nvPr>
            <p:ph type="dt" sz="half" idx="6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3838CA-3E93-4D34-B880-11888D17B07A}"/>
              </a:ext>
            </a:extLst>
          </p:cNvPr>
          <p:cNvSpPr>
            <a:spLocks noGrp="1"/>
          </p:cNvSpPr>
          <p:nvPr>
            <p:ph type="ftr" sz="quarter" idx="6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5B35E9D-3BFC-4C19-8C98-E656481DB63D}"/>
              </a:ext>
            </a:extLst>
          </p:cNvPr>
          <p:cNvSpPr>
            <a:spLocks noGrp="1"/>
          </p:cNvSpPr>
          <p:nvPr>
            <p:ph type="sldNum" sz="quarter" idx="67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63759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731" userDrawn="1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(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ast overskrift"/>
          <p:cNvSpPr txBox="1"/>
          <p:nvPr userDrawn="1"/>
        </p:nvSpPr>
        <p:spPr>
          <a:xfrm>
            <a:off x="338910" y="539750"/>
            <a:ext cx="11285112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3200" dirty="0">
                <a:solidFill>
                  <a:schemeClr val="accent1"/>
                </a:solidFill>
              </a:rPr>
              <a:t>User guide (II)– </a:t>
            </a:r>
            <a:r>
              <a:rPr lang="en-GB" sz="3200" dirty="0"/>
              <a:t>delete before use</a:t>
            </a:r>
            <a:endParaRPr lang="en-GB" sz="3200" b="0" noProof="1">
              <a:solidFill>
                <a:schemeClr val="tx1"/>
              </a:solidFill>
              <a:latin typeface="Karbon Medium" pitchFamily="2" charset="0"/>
              <a:cs typeface="Arial" panose="020B0604020202020204" pitchFamily="34" charset="0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021462C-2714-43D2-9D2D-C678C7A52A99}"/>
              </a:ext>
            </a:extLst>
          </p:cNvPr>
          <p:cNvGrpSpPr/>
          <p:nvPr userDrawn="1"/>
        </p:nvGrpSpPr>
        <p:grpSpPr>
          <a:xfrm>
            <a:off x="2828925" y="3267075"/>
            <a:ext cx="1333500" cy="681456"/>
            <a:chOff x="7080492" y="3874394"/>
            <a:chExt cx="3226862" cy="1820585"/>
          </a:xfrm>
        </p:grpSpPr>
        <p:graphicFrame>
          <p:nvGraphicFramePr>
            <p:cNvPr id="18" name="Object 17">
              <a:extLst>
                <a:ext uri="{FF2B5EF4-FFF2-40B4-BE49-F238E27FC236}">
                  <a16:creationId xmlns:a16="http://schemas.microsoft.com/office/drawing/2014/main" id="{98028920-C4B0-432C-A49F-8AE647C884A5}"/>
                </a:ext>
              </a:extLst>
            </p:cNvPr>
            <p:cNvGraphicFramePr>
              <a:graphicFrameLocks/>
            </p:cNvGraphicFramePr>
            <p:nvPr>
              <p:custDataLst>
                <p:tags r:id="rId1"/>
              </p:custDataLst>
              <p:extLst>
                <p:ext uri="{D42A27DB-BD31-4B8C-83A1-F6EECF244321}">
                  <p14:modId xmlns:p14="http://schemas.microsoft.com/office/powerpoint/2010/main" val="3760996798"/>
                </p:ext>
              </p:extLst>
            </p:nvPr>
          </p:nvGraphicFramePr>
          <p:xfrm>
            <a:off x="7080492" y="3874394"/>
            <a:ext cx="3226862" cy="157077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hart" r:id="rId3" imgW="4753115" imgH="2905125" progId="MSGraph.Chart.8">
                    <p:embed followColorScheme="full"/>
                  </p:oleObj>
                </mc:Choice>
                <mc:Fallback>
                  <p:oleObj name="Chart" r:id="rId3" imgW="4753115" imgH="2905125" progId="MSGraph.Chart.8">
                    <p:embed followColorScheme="full"/>
                    <p:pic>
                      <p:nvPicPr>
                        <p:cNvPr id="18" name="Object 17">
                          <a:extLst>
                            <a:ext uri="{FF2B5EF4-FFF2-40B4-BE49-F238E27FC236}">
                              <a16:creationId xmlns:a16="http://schemas.microsoft.com/office/drawing/2014/main" id="{98028920-C4B0-432C-A49F-8AE647C884A5}"/>
                            </a:ext>
                          </a:extLst>
                        </p:cNvPr>
                        <p:cNvPicPr/>
                        <p:nvPr/>
                      </p:nvPicPr>
                      <p:blipFill>
                        <a:blip r:embed="rId4"/>
                        <a:stretch>
                          <a:fillRect/>
                        </a:stretch>
                      </p:blipFill>
                      <p:spPr>
                        <a:xfrm>
                          <a:off x="7080492" y="3874394"/>
                          <a:ext cx="3226862" cy="1570778"/>
                        </a:xfrm>
                        <a:prstGeom prst="rect">
                          <a:avLst/>
                        </a:prstGeom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B87D420-B9B7-42A6-AD2E-C9DF5682E838}"/>
                </a:ext>
              </a:extLst>
            </p:cNvPr>
            <p:cNvSpPr txBox="1"/>
            <p:nvPr/>
          </p:nvSpPr>
          <p:spPr>
            <a:xfrm>
              <a:off x="9388232" y="5438774"/>
              <a:ext cx="666752" cy="2466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600" dirty="0">
                  <a:solidFill>
                    <a:schemeClr val="tx1"/>
                  </a:solidFill>
                </a:rPr>
                <a:t>Budget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850144C-862D-4949-A65F-178C15797422}"/>
                </a:ext>
              </a:extLst>
            </p:cNvPr>
            <p:cNvSpPr txBox="1"/>
            <p:nvPr/>
          </p:nvSpPr>
          <p:spPr>
            <a:xfrm>
              <a:off x="8401049" y="5438774"/>
              <a:ext cx="666752" cy="2466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600" dirty="0">
                  <a:solidFill>
                    <a:schemeClr val="tx1"/>
                  </a:solidFill>
                </a:rPr>
                <a:t>2019 YTD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D1B19E74-32F6-44E4-B564-8E6D0768A856}"/>
                </a:ext>
              </a:extLst>
            </p:cNvPr>
            <p:cNvSpPr txBox="1"/>
            <p:nvPr/>
          </p:nvSpPr>
          <p:spPr>
            <a:xfrm>
              <a:off x="7348720" y="5448301"/>
              <a:ext cx="666752" cy="24667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600" dirty="0">
                  <a:solidFill>
                    <a:schemeClr val="tx1"/>
                  </a:solidFill>
                </a:rPr>
                <a:t>2018</a:t>
              </a:r>
            </a:p>
          </p:txBody>
        </p:sp>
      </p:grpSp>
      <p:sp>
        <p:nvSpPr>
          <p:cNvPr id="27" name="Text Box 3">
            <a:extLst>
              <a:ext uri="{FF2B5EF4-FFF2-40B4-BE49-F238E27FC236}">
                <a16:creationId xmlns:a16="http://schemas.microsoft.com/office/drawing/2014/main" id="{8865F0DD-895A-4D89-AF81-7E001F17DF6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031894" y="1465837"/>
            <a:ext cx="2160798" cy="4939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ing trademarks</a:t>
            </a:r>
            <a:endParaRPr lang="en-GB" sz="1100" b="1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lease refer to the trademark overview on the </a:t>
            </a: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Shape Intranet </a:t>
            </a:r>
            <a:r>
              <a:rPr lang="en-GB" sz="11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the latest trademark registration status 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sz="1100" noProof="1">
                <a:latin typeface="+mn-lt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3shapedental.sharepoint.com/Pages/About%20Us/Our%20company/CVI.aspx</a:t>
            </a: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1100" b="1" noProof="1">
                <a:latin typeface="+mn-lt"/>
                <a:cs typeface="Arial" panose="020B0604020202020204" pitchFamily="34" charset="0"/>
              </a:rPr>
              <a:t>Trademark attribution not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sz="1100" noProof="1">
                <a:latin typeface="+mn-lt"/>
                <a:cs typeface="Arial" panose="020B0604020202020204" pitchFamily="34" charset="0"/>
              </a:rPr>
              <a:t>Please complete the trademark attribution note on the final slide by inserting the country the presentation is targeted to. 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100" noProof="1"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02EAFD41-99C9-4BDC-BC4B-8298FFE813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28125"/>
          <a:stretch/>
        </p:blipFill>
        <p:spPr>
          <a:xfrm>
            <a:off x="4772025" y="5592763"/>
            <a:ext cx="5506897" cy="428625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B1B5BE7-32DE-4DA0-954C-507B03F7BD03}"/>
              </a:ext>
            </a:extLst>
          </p:cNvPr>
          <p:cNvSpPr/>
          <p:nvPr userDrawn="1"/>
        </p:nvSpPr>
        <p:spPr>
          <a:xfrm>
            <a:off x="363961" y="1426072"/>
            <a:ext cx="2160798" cy="39395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indent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n-GB" sz="11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nagement Reporting</a:t>
            </a:r>
          </a:p>
          <a:p>
            <a:pPr marL="0" indent="0" eaLnBrk="1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/>
            </a:pPr>
            <a:r>
              <a:rPr lang="en-GB" altLang="da-DK" sz="11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3Shape reporting color palette in Think Cell to create reports for Management.  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altLang="da-DK" sz="1100" noProof="1">
                <a:solidFill>
                  <a:schemeClr val="tx1"/>
                </a:solidFill>
                <a:latin typeface="Karbon Medium" pitchFamily="2" charset="0"/>
                <a:cs typeface="Arial" panose="020B0604020202020204" pitchFamily="34" charset="0"/>
              </a:rPr>
              <a:t>Please follow the guidance below: </a:t>
            </a:r>
          </a:p>
          <a:p>
            <a:pPr marL="0" indent="0" eaLnBrk="1" hangingPunct="1">
              <a:spcAft>
                <a:spcPts val="600"/>
              </a:spcAft>
              <a:buNone/>
              <a:defRPr/>
            </a:pPr>
            <a:r>
              <a:rPr lang="en-GB" sz="1100" b="1" dirty="0">
                <a:latin typeface="+mn-lt"/>
              </a:rPr>
              <a:t>1. </a:t>
            </a:r>
            <a:r>
              <a:rPr lang="en-GB" sz="1100" dirty="0">
                <a:latin typeface="+mn-lt"/>
              </a:rPr>
              <a:t>Always use the Yellow for displaying the </a:t>
            </a:r>
            <a:r>
              <a:rPr lang="en-GB" sz="1100" b="1" dirty="0">
                <a:latin typeface="+mn-lt"/>
              </a:rPr>
              <a:t>Budget</a:t>
            </a:r>
            <a:r>
              <a:rPr lang="en-GB" sz="1100" dirty="0">
                <a:latin typeface="+mn-lt"/>
              </a:rPr>
              <a:t> </a:t>
            </a:r>
          </a:p>
          <a:p>
            <a:pPr marL="0" indent="0">
              <a:buNone/>
            </a:pPr>
            <a:r>
              <a:rPr lang="en-GB" sz="1100" b="1" dirty="0">
                <a:latin typeface="+mn-lt"/>
              </a:rPr>
              <a:t>2. </a:t>
            </a:r>
            <a:r>
              <a:rPr lang="en-GB" sz="1100" dirty="0">
                <a:latin typeface="+mn-lt"/>
              </a:rPr>
              <a:t>Always use the Blue for the </a:t>
            </a:r>
            <a:r>
              <a:rPr lang="en-GB" sz="1100" b="1" dirty="0">
                <a:latin typeface="+mn-lt"/>
              </a:rPr>
              <a:t>YTD or “current year” numbers</a:t>
            </a:r>
          </a:p>
          <a:p>
            <a:pPr marL="0" indent="0">
              <a:buNone/>
            </a:pPr>
            <a:r>
              <a:rPr lang="en-GB" sz="1100" b="1" dirty="0">
                <a:latin typeface="+mn-lt"/>
              </a:rPr>
              <a:t>3. </a:t>
            </a:r>
            <a:r>
              <a:rPr lang="en-GB" sz="1100" dirty="0">
                <a:latin typeface="+mn-lt"/>
              </a:rPr>
              <a:t>Always start with the earliest year/month to the left and the latest year/month to the right </a:t>
            </a:r>
          </a:p>
          <a:p>
            <a:pPr marL="0" indent="0">
              <a:buNone/>
            </a:pPr>
            <a:r>
              <a:rPr lang="en-GB" sz="1100" b="1" dirty="0">
                <a:latin typeface="+mn-lt"/>
              </a:rPr>
              <a:t>4. </a:t>
            </a:r>
            <a:r>
              <a:rPr lang="en-GB" sz="1100" dirty="0">
                <a:latin typeface="+mn-lt"/>
              </a:rPr>
              <a:t>The Budget is always placed on the right side of the graph</a:t>
            </a:r>
          </a:p>
          <a:p>
            <a:pPr marL="180975" indent="-180975">
              <a:buFont typeface="+mj-lt"/>
              <a:buAutoNum type="arabicPeriod"/>
            </a:pPr>
            <a:endParaRPr lang="en-GB" sz="1100" dirty="0">
              <a:latin typeface="+mn-lt"/>
            </a:endParaRPr>
          </a:p>
          <a:p>
            <a:pPr marL="180975" indent="-180975">
              <a:buFont typeface="+mj-lt"/>
              <a:buAutoNum type="arabicPeriod"/>
            </a:pPr>
            <a:endParaRPr lang="en-GB" sz="1100" dirty="0">
              <a:latin typeface="+mn-lt"/>
            </a:endParaRPr>
          </a:p>
          <a:p>
            <a:pPr marL="0" indent="0">
              <a:buNone/>
            </a:pPr>
            <a:endParaRPr lang="en-GB" sz="1100" dirty="0">
              <a:latin typeface="+mn-lt"/>
            </a:endParaRPr>
          </a:p>
          <a:p>
            <a:pPr marL="228600" indent="-228600" eaLnBrk="1" hangingPunct="1">
              <a:spcAft>
                <a:spcPts val="600"/>
              </a:spcAft>
              <a:buAutoNum type="arabicPeriod"/>
              <a:defRPr/>
            </a:pPr>
            <a:endParaRPr lang="en-GB" sz="11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sz="11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11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567C8A5-9739-42D0-B1C1-98A039AC7A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398" t="220" r="43192" b="69787"/>
          <a:stretch/>
        </p:blipFill>
        <p:spPr>
          <a:xfrm>
            <a:off x="2942312" y="1528006"/>
            <a:ext cx="872759" cy="129048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B40F6BE-D9F0-45D7-877B-C79E2BA58D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1351" r="1420" b="583"/>
          <a:stretch/>
        </p:blipFill>
        <p:spPr>
          <a:xfrm>
            <a:off x="7661852" y="1528006"/>
            <a:ext cx="3437730" cy="3275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91845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8BC4E0B-0DFA-4797-B3CC-A9FCF260B7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83F81E-815A-4A25-8778-C303806868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F9A2FA0-5B50-43BF-BC5A-1B9F867EB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5" name="Pladsholder til logo">
            <a:extLst>
              <a:ext uri="{FF2B5EF4-FFF2-40B4-BE49-F238E27FC236}">
                <a16:creationId xmlns:a16="http://schemas.microsoft.com/office/drawing/2014/main" id="{5E2EA42E-2B37-4CDF-B213-65A0769B51E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341437" y="6194836"/>
            <a:ext cx="1515600" cy="316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001122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ark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billede 1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7999"/>
          </a:xfrm>
          <a:solidFill>
            <a:schemeClr val="accent2"/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on icon and insert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4965" y="646113"/>
            <a:ext cx="5540055" cy="504000"/>
          </a:xfrm>
        </p:spPr>
        <p:txBody>
          <a:bodyPr anchor="b" anchorCtr="0"/>
          <a:lstStyle>
            <a:lvl1pPr>
              <a:lnSpc>
                <a:spcPct val="92000"/>
              </a:lnSpc>
              <a:defRPr sz="3600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5" name="Pladsholder til logo"/>
          <p:cNvSpPr>
            <a:spLocks noGrp="1"/>
          </p:cNvSpPr>
          <p:nvPr>
            <p:ph type="body" sz="quarter" idx="20" hasCustomPrompt="1"/>
          </p:nvPr>
        </p:nvSpPr>
        <p:spPr>
          <a:xfrm>
            <a:off x="10341437" y="6194836"/>
            <a:ext cx="1515600" cy="316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9"/>
          </p:nvPr>
        </p:nvSpPr>
        <p:spPr>
          <a:xfrm>
            <a:off x="334963" y="6332146"/>
            <a:ext cx="637445" cy="15040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7" name="Pladsholder til sidefod 6" hidden="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4DFF1B4-2ED2-4368-A357-B77B054CAE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4963" y="1478822"/>
            <a:ext cx="5540055" cy="4537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24940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billede 1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7999"/>
          </a:xfrm>
          <a:solidFill>
            <a:schemeClr val="bg1">
              <a:lumMod val="95000"/>
            </a:schemeClr>
          </a:solidFill>
        </p:spPr>
        <p:txBody>
          <a:bodyPr tIns="612000" anchor="ctr" anchorCtr="0"/>
          <a:lstStyle>
            <a:lvl1pPr marL="0" indent="0" algn="ctr">
              <a:buNone/>
              <a:defRPr sz="1400" baseline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GB" dirty="0"/>
              <a:t>Click on icon and insert 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34965" y="646113"/>
            <a:ext cx="5540056" cy="504000"/>
          </a:xfrm>
        </p:spPr>
        <p:txBody>
          <a:bodyPr anchor="b" anchorCtr="0"/>
          <a:lstStyle>
            <a:lvl1pPr>
              <a:lnSpc>
                <a:spcPct val="92000"/>
              </a:lnSpc>
              <a:defRPr sz="3600" b="0" i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lick to add title</a:t>
            </a:r>
          </a:p>
        </p:txBody>
      </p:sp>
      <p:sp>
        <p:nvSpPr>
          <p:cNvPr id="12" name="Pladsholder til tekst 17"/>
          <p:cNvSpPr>
            <a:spLocks noGrp="1"/>
          </p:cNvSpPr>
          <p:nvPr>
            <p:ph type="body" sz="quarter" idx="21" hasCustomPrompt="1"/>
          </p:nvPr>
        </p:nvSpPr>
        <p:spPr>
          <a:xfrm>
            <a:off x="334964" y="1484313"/>
            <a:ext cx="5540056" cy="42354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9"/>
          </p:nvPr>
        </p:nvSpPr>
        <p:spPr>
          <a:xfrm>
            <a:off x="334963" y="6332146"/>
            <a:ext cx="637445" cy="150402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7" name="Pladsholder til sidefod 6" hidden="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" name="Pladsholder til dato 2" hidden="1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Pladsholder til logo"/>
          <p:cNvSpPr>
            <a:spLocks noGrp="1"/>
          </p:cNvSpPr>
          <p:nvPr>
            <p:ph type="body" sz="quarter" idx="22" hasCustomPrompt="1"/>
          </p:nvPr>
        </p:nvSpPr>
        <p:spPr>
          <a:xfrm>
            <a:off x="10341437" y="6194836"/>
            <a:ext cx="1515600" cy="3168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354880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334963" y="1484312"/>
            <a:ext cx="11522075" cy="45370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3205675-C682-4FE3-8C45-CED7167A53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32C556-51F6-4E87-B9DD-13D1180B20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57D1B2A-EF78-4291-A9B4-CB54EF358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4070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idx="1" hasCustomPrompt="1"/>
          </p:nvPr>
        </p:nvSpPr>
        <p:spPr>
          <a:xfrm>
            <a:off x="334964" y="1484312"/>
            <a:ext cx="5651500" cy="45370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idx="14" hasCustomPrompt="1"/>
          </p:nvPr>
        </p:nvSpPr>
        <p:spPr>
          <a:xfrm>
            <a:off x="6207125" y="1484312"/>
            <a:ext cx="5649913" cy="45370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6CCBB8-6ADE-4933-9830-8026F43B557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6C02B3-AFEB-4213-93F1-5CF34B3D7C4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0EF0321-3AA7-4C3D-BC2C-36E381773D7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4067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idx="16" hasCustomPrompt="1"/>
          </p:nvPr>
        </p:nvSpPr>
        <p:spPr>
          <a:xfrm>
            <a:off x="4286250" y="1484312"/>
            <a:ext cx="7570787" cy="45370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idx="15" hasCustomPrompt="1"/>
          </p:nvPr>
        </p:nvSpPr>
        <p:spPr>
          <a:xfrm>
            <a:off x="334963" y="1484312"/>
            <a:ext cx="3729437" cy="45370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2159325-0834-4920-AD0A-1B7CEF9A774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5E2650-2042-4D09-825B-B7BBF82381B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D704AA-7FDE-46E9-9EBB-44C807D46DB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79623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Highlight parts in the 3Shape Red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E35DF87-4E64-4365-BE69-BF91128F3AE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4963" y="1483200"/>
            <a:ext cx="5706953" cy="4536000"/>
          </a:xfrm>
        </p:spPr>
        <p:txBody>
          <a:bodyPr/>
          <a:lstStyle>
            <a:lvl5pPr>
              <a:defRPr/>
            </a:lvl5pPr>
            <a:lvl6pPr>
              <a:buNone/>
              <a:defRPr/>
            </a:lvl6pPr>
            <a:lvl7pPr>
              <a:buNone/>
              <a:defRPr/>
            </a:lvl7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idx="15" hasCustomPrompt="1"/>
          </p:nvPr>
        </p:nvSpPr>
        <p:spPr>
          <a:xfrm>
            <a:off x="6221917" y="1484314"/>
            <a:ext cx="2727559" cy="453707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idx="17" hasCustomPrompt="1"/>
          </p:nvPr>
        </p:nvSpPr>
        <p:spPr>
          <a:xfrm>
            <a:off x="9129477" y="1484314"/>
            <a:ext cx="2727560" cy="453707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dirty="0"/>
              <a:t>Level A</a:t>
            </a:r>
          </a:p>
          <a:p>
            <a:pPr lvl="1"/>
            <a:r>
              <a:rPr lang="en-GB" dirty="0"/>
              <a:t>Level B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4ACC8-3610-448B-B56E-215618D9BF2E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DAC297F-B095-432A-A68D-AFAE9668DD6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F1818C7-69C7-4667-9696-7C8F074C8A6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83406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2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0C04BD8-D96D-4130-8F32-00D60D70F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674917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347" imgH="348" progId="TCLayout.ActiveDocument.1">
                  <p:embed/>
                </p:oleObj>
              </mc:Choice>
              <mc:Fallback>
                <p:oleObj name="think-cell Slide" r:id="rId35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0C04BD8-D96D-4130-8F32-00D60D70F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EEB3467-877F-4B23-A2E0-5677C436F99D}"/>
              </a:ext>
            </a:extLst>
          </p:cNvPr>
          <p:cNvSpPr/>
          <p:nvPr userDrawn="1">
            <p:custDataLst>
              <p:tags r:id="rId3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600" b="0" i="0" baseline="0" dirty="0" err="1">
              <a:latin typeface="Karbon Light" panose="02000000000000000000" pitchFamily="2" charset="0"/>
              <a:ea typeface="+mj-ea"/>
              <a:cs typeface="+mj-cs"/>
              <a:sym typeface="Karbon Light" panose="02000000000000000000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963" y="646113"/>
            <a:ext cx="11522075" cy="504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dirty="0"/>
              <a:t>Highlight parts in the 3Shape Re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3" y="1473902"/>
            <a:ext cx="11522075" cy="4540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Level 1</a:t>
            </a:r>
          </a:p>
          <a:p>
            <a:pPr lvl="1"/>
            <a:r>
              <a:rPr lang="en-GB" dirty="0"/>
              <a:t>Level 2</a:t>
            </a:r>
          </a:p>
          <a:p>
            <a:pPr lvl="2"/>
            <a:r>
              <a:rPr lang="en-GB" dirty="0"/>
              <a:t>Level 3</a:t>
            </a:r>
          </a:p>
          <a:p>
            <a:pPr lvl="3"/>
            <a:r>
              <a:rPr lang="en-GB" dirty="0"/>
              <a:t>Level 4</a:t>
            </a:r>
          </a:p>
          <a:p>
            <a:pPr lvl="4"/>
            <a:r>
              <a:rPr lang="en-GB" dirty="0"/>
              <a:t>Level 5</a:t>
            </a:r>
          </a:p>
          <a:p>
            <a:pPr lvl="5"/>
            <a:r>
              <a:rPr lang="en-GB" dirty="0"/>
              <a:t>Level 6</a:t>
            </a:r>
          </a:p>
          <a:p>
            <a:pPr lvl="6"/>
            <a:r>
              <a:rPr lang="en-GB" dirty="0"/>
              <a:t>Level 7</a:t>
            </a:r>
          </a:p>
          <a:p>
            <a:pPr lvl="7"/>
            <a:r>
              <a:rPr lang="en-GB" dirty="0"/>
              <a:t>Level 8</a:t>
            </a:r>
          </a:p>
          <a:p>
            <a:pPr lvl="8"/>
            <a:r>
              <a:rPr lang="en-GB" dirty="0"/>
              <a:t>Level 9</a:t>
            </a:r>
          </a:p>
        </p:txBody>
      </p:sp>
      <p:pic>
        <p:nvPicPr>
          <p:cNvPr id="7" name="Logo"/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1438" y="6193862"/>
            <a:ext cx="1515600" cy="317774"/>
          </a:xfrm>
          <a:prstGeom prst="rect">
            <a:avLst/>
          </a:prstGeom>
        </p:spPr>
      </p:pic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29600" y="6318000"/>
            <a:ext cx="3740400" cy="1548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4963" y="6325200"/>
            <a:ext cx="637445" cy="15040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 b="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2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100">
                <a:noFill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352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57" r:id="rId2"/>
    <p:sldLayoutId id="2147483679" r:id="rId3"/>
    <p:sldLayoutId id="2147483672" r:id="rId4"/>
    <p:sldLayoutId id="2147483665" r:id="rId5"/>
    <p:sldLayoutId id="2147483662" r:id="rId6"/>
    <p:sldLayoutId id="2147483653" r:id="rId7"/>
    <p:sldLayoutId id="2147483678" r:id="rId8"/>
    <p:sldLayoutId id="2147483673" r:id="rId9"/>
    <p:sldLayoutId id="2147483669" r:id="rId10"/>
    <p:sldLayoutId id="2147483663" r:id="rId11"/>
    <p:sldLayoutId id="2147483654" r:id="rId12"/>
    <p:sldLayoutId id="2147483649" r:id="rId13"/>
    <p:sldLayoutId id="2147483674" r:id="rId14"/>
    <p:sldLayoutId id="2147483666" r:id="rId15"/>
    <p:sldLayoutId id="2147483658" r:id="rId16"/>
    <p:sldLayoutId id="2147483655" r:id="rId17"/>
    <p:sldLayoutId id="2147483650" r:id="rId18"/>
    <p:sldLayoutId id="2147483670" r:id="rId19"/>
    <p:sldLayoutId id="2147483659" r:id="rId20"/>
    <p:sldLayoutId id="2147483652" r:id="rId21"/>
    <p:sldLayoutId id="2147483675" r:id="rId22"/>
    <p:sldLayoutId id="2147483667" r:id="rId23"/>
    <p:sldLayoutId id="2147483664" r:id="rId24"/>
    <p:sldLayoutId id="2147483656" r:id="rId25"/>
    <p:sldLayoutId id="2147483651" r:id="rId26"/>
    <p:sldLayoutId id="2147483676" r:id="rId27"/>
    <p:sldLayoutId id="2147483668" r:id="rId28"/>
    <p:sldLayoutId id="2147483660" r:id="rId29"/>
    <p:sldLayoutId id="2147483677" r:id="rId30"/>
    <p:sldLayoutId id="2147483671" r:id="rId31"/>
  </p:sldLayoutIdLst>
  <p:hf hdr="0" dt="0"/>
  <p:txStyles>
    <p:titleStyle>
      <a:lvl1pPr algn="l" defTabSz="914400" rtl="0" eaLnBrk="1" latinLnBrk="0" hangingPunct="1">
        <a:lnSpc>
          <a:spcPct val="81000"/>
        </a:lnSpc>
        <a:spcBef>
          <a:spcPct val="0"/>
        </a:spcBef>
        <a:buNone/>
        <a:defRPr sz="3600" b="0" kern="1200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600"/>
        </a:spcBef>
        <a:buSzPct val="80000"/>
        <a:buFont typeface="Arial" panose="020B0604020202020204" pitchFamily="34" charset="0"/>
        <a:buChar char="•"/>
        <a:defRPr sz="2400" b="0" i="0" kern="1200" baseline="0">
          <a:solidFill>
            <a:schemeClr val="accent2"/>
          </a:solidFill>
          <a:latin typeface="+mj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90000"/>
        </a:lnSpc>
        <a:spcBef>
          <a:spcPts val="600"/>
        </a:spcBef>
        <a:buSzPct val="80000"/>
        <a:buFont typeface="Arial" panose="020B0604020202020204" pitchFamily="34" charset="0"/>
        <a:buChar char="•"/>
        <a:defRPr sz="2000" kern="1200" baseline="0">
          <a:solidFill>
            <a:schemeClr val="accent2"/>
          </a:solidFill>
          <a:latin typeface="+mj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90000"/>
        </a:lnSpc>
        <a:spcBef>
          <a:spcPts val="600"/>
        </a:spcBef>
        <a:buFont typeface="+mj-lt"/>
        <a:buAutoNum type="alphaLcPeriod"/>
        <a:defRPr sz="1800" kern="1200">
          <a:solidFill>
            <a:schemeClr val="accent2"/>
          </a:solidFill>
          <a:latin typeface="+mj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90000"/>
        </a:lnSpc>
        <a:spcBef>
          <a:spcPts val="600"/>
        </a:spcBef>
        <a:buSzPct val="60000"/>
        <a:buFont typeface="Arial" panose="020B0604020202020204" pitchFamily="34" charset="0"/>
        <a:buChar char="•"/>
        <a:defRPr sz="1600" kern="1200">
          <a:solidFill>
            <a:schemeClr val="accent2"/>
          </a:solidFill>
          <a:latin typeface="+mj-lt"/>
          <a:ea typeface="+mn-ea"/>
          <a:cs typeface="+mn-cs"/>
        </a:defRPr>
      </a:lvl4pPr>
      <a:lvl5pPr marL="0" indent="0" algn="l" defTabSz="9017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​"/>
        <a:defRPr sz="2400" kern="1200" baseline="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​"/>
        <a:defRPr sz="2000" kern="1200" baseline="0">
          <a:solidFill>
            <a:schemeClr val="accent2"/>
          </a:solidFill>
          <a:latin typeface="+mj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​"/>
        <a:defRPr sz="5600" kern="1200">
          <a:solidFill>
            <a:schemeClr val="accent1"/>
          </a:solidFill>
          <a:latin typeface="+mj-lt"/>
          <a:ea typeface="+mn-ea"/>
          <a:cs typeface="+mn-cs"/>
        </a:defRPr>
      </a:lvl7pPr>
      <a:lvl8pPr marL="0" indent="-180000" algn="l" defTabSz="914400" rtl="0" eaLnBrk="1" latinLnBrk="0" hangingPunct="1">
        <a:lnSpc>
          <a:spcPct val="90000"/>
        </a:lnSpc>
        <a:spcBef>
          <a:spcPts val="600"/>
        </a:spcBef>
        <a:buFont typeface="+mj-lt"/>
        <a:buAutoNum type="arabicPeriod"/>
        <a:defRPr sz="10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-180000" algn="l" defTabSz="914400" rtl="0" eaLnBrk="1" latinLnBrk="0" hangingPunct="1">
        <a:lnSpc>
          <a:spcPct val="90000"/>
        </a:lnSpc>
        <a:spcBef>
          <a:spcPts val="600"/>
        </a:spcBef>
        <a:buFont typeface="+mj-lt"/>
        <a:buAutoNum type="alphaLcParenR"/>
        <a:defRPr sz="1000" b="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 userDrawn="1">
          <p15:clr>
            <a:srgbClr val="F26B43"/>
          </p15:clr>
        </p15:guide>
        <p15:guide id="2" pos="7469" userDrawn="1">
          <p15:clr>
            <a:srgbClr val="F26B43"/>
          </p15:clr>
        </p15:guide>
        <p15:guide id="4" orient="horz" pos="935" userDrawn="1">
          <p15:clr>
            <a:srgbClr val="F26B43"/>
          </p15:clr>
        </p15:guide>
        <p15:guide id="5" orient="horz" pos="37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3.svg"/><Relationship Id="rId18" Type="http://schemas.openxmlformats.org/officeDocument/2006/relationships/image" Target="../media/image26.png"/><Relationship Id="rId26" Type="http://schemas.microsoft.com/office/2007/relationships/hdphoto" Target="../media/hdphoto10.wdp"/><Relationship Id="rId3" Type="http://schemas.microsoft.com/office/2007/relationships/hdphoto" Target="../media/hdphoto1.wdp"/><Relationship Id="rId21" Type="http://schemas.openxmlformats.org/officeDocument/2006/relationships/image" Target="../media/image28.png"/><Relationship Id="rId7" Type="http://schemas.openxmlformats.org/officeDocument/2006/relationships/image" Target="../media/image19.svg"/><Relationship Id="rId12" Type="http://schemas.openxmlformats.org/officeDocument/2006/relationships/image" Target="../media/image22.png"/><Relationship Id="rId17" Type="http://schemas.microsoft.com/office/2007/relationships/hdphoto" Target="../media/hdphoto6.wdp"/><Relationship Id="rId25" Type="http://schemas.openxmlformats.org/officeDocument/2006/relationships/image" Target="../media/image30.png"/><Relationship Id="rId2" Type="http://schemas.openxmlformats.org/officeDocument/2006/relationships/image" Target="../media/image16.png"/><Relationship Id="rId16" Type="http://schemas.openxmlformats.org/officeDocument/2006/relationships/image" Target="../media/image25.png"/><Relationship Id="rId20" Type="http://schemas.microsoft.com/office/2007/relationships/hdphoto" Target="../media/hdphoto7.wdp"/><Relationship Id="rId29" Type="http://schemas.openxmlformats.org/officeDocument/2006/relationships/image" Target="../media/image32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8.png"/><Relationship Id="rId11" Type="http://schemas.microsoft.com/office/2007/relationships/hdphoto" Target="../media/hdphoto4.wdp"/><Relationship Id="rId24" Type="http://schemas.microsoft.com/office/2007/relationships/hdphoto" Target="../media/hdphoto9.wdp"/><Relationship Id="rId5" Type="http://schemas.microsoft.com/office/2007/relationships/hdphoto" Target="../media/hdphoto2.wdp"/><Relationship Id="rId15" Type="http://schemas.microsoft.com/office/2007/relationships/hdphoto" Target="../media/hdphoto5.wdp"/><Relationship Id="rId23" Type="http://schemas.openxmlformats.org/officeDocument/2006/relationships/image" Target="../media/image29.png"/><Relationship Id="rId28" Type="http://schemas.microsoft.com/office/2007/relationships/hdphoto" Target="../media/hdphoto11.wdp"/><Relationship Id="rId10" Type="http://schemas.openxmlformats.org/officeDocument/2006/relationships/image" Target="../media/image21.png"/><Relationship Id="rId19" Type="http://schemas.openxmlformats.org/officeDocument/2006/relationships/image" Target="../media/image27.png"/><Relationship Id="rId31" Type="http://schemas.openxmlformats.org/officeDocument/2006/relationships/image" Target="../media/image34.jpeg"/><Relationship Id="rId4" Type="http://schemas.openxmlformats.org/officeDocument/2006/relationships/image" Target="../media/image17.png"/><Relationship Id="rId9" Type="http://schemas.microsoft.com/office/2007/relationships/hdphoto" Target="../media/hdphoto3.wdp"/><Relationship Id="rId14" Type="http://schemas.openxmlformats.org/officeDocument/2006/relationships/image" Target="../media/image24.png"/><Relationship Id="rId22" Type="http://schemas.microsoft.com/office/2007/relationships/hdphoto" Target="../media/hdphoto8.wdp"/><Relationship Id="rId27" Type="http://schemas.openxmlformats.org/officeDocument/2006/relationships/image" Target="../media/image31.png"/><Relationship Id="rId30" Type="http://schemas.openxmlformats.org/officeDocument/2006/relationships/image" Target="../media/image33.sv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4.xml"/><Relationship Id="rId5" Type="http://schemas.microsoft.com/office/2007/relationships/hdphoto" Target="../media/hdphoto2.wdp"/><Relationship Id="rId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6.png"/><Relationship Id="rId5" Type="http://schemas.microsoft.com/office/2007/relationships/hdphoto" Target="../media/hdphoto6.wdp"/><Relationship Id="rId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4.xml"/><Relationship Id="rId5" Type="http://schemas.microsoft.com/office/2007/relationships/hdphoto" Target="../media/hdphoto4.wdp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4.xml"/><Relationship Id="rId5" Type="http://schemas.microsoft.com/office/2007/relationships/hdphoto" Target="../media/hdphoto12.wdp"/><Relationship Id="rId4" Type="http://schemas.openxmlformats.org/officeDocument/2006/relationships/image" Target="../media/image35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0.wdp"/><Relationship Id="rId7" Type="http://schemas.openxmlformats.org/officeDocument/2006/relationships/image" Target="../media/image33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2.png"/><Relationship Id="rId5" Type="http://schemas.microsoft.com/office/2007/relationships/hdphoto" Target="../media/hdphoto11.wdp"/><Relationship Id="rId4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3.wdp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BEB">
            <a:alpha val="44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0" name="TextBox 1079">
            <a:extLst>
              <a:ext uri="{FF2B5EF4-FFF2-40B4-BE49-F238E27FC236}">
                <a16:creationId xmlns:a16="http://schemas.microsoft.com/office/drawing/2014/main" id="{5E5C9E05-7034-B86C-42D9-868824899A1E}"/>
              </a:ext>
            </a:extLst>
          </p:cNvPr>
          <p:cNvSpPr txBox="1"/>
          <p:nvPr/>
        </p:nvSpPr>
        <p:spPr>
          <a:xfrm>
            <a:off x="3787176" y="6081130"/>
            <a:ext cx="241837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/>
              <a:t>Full and partial dentures in the same mouth</a:t>
            </a:r>
          </a:p>
        </p:txBody>
      </p:sp>
      <p:grpSp>
        <p:nvGrpSpPr>
          <p:cNvPr id="1055" name="Group 1054">
            <a:extLst>
              <a:ext uri="{FF2B5EF4-FFF2-40B4-BE49-F238E27FC236}">
                <a16:creationId xmlns:a16="http://schemas.microsoft.com/office/drawing/2014/main" id="{20DAA1E0-36F3-246B-8D68-C5074F480153}"/>
              </a:ext>
            </a:extLst>
          </p:cNvPr>
          <p:cNvGrpSpPr/>
          <p:nvPr/>
        </p:nvGrpSpPr>
        <p:grpSpPr>
          <a:xfrm>
            <a:off x="3889103" y="1779070"/>
            <a:ext cx="2947573" cy="1329213"/>
            <a:chOff x="5179389" y="3934889"/>
            <a:chExt cx="3255866" cy="1433107"/>
          </a:xfrm>
        </p:grpSpPr>
        <p:pic>
          <p:nvPicPr>
            <p:cNvPr id="1050" name="Picture 10" descr="quality_control_images">
              <a:extLst>
                <a:ext uri="{FF2B5EF4-FFF2-40B4-BE49-F238E27FC236}">
                  <a16:creationId xmlns:a16="http://schemas.microsoft.com/office/drawing/2014/main" id="{826503D0-DAA8-FCD0-6075-511D4792B9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10000" b="90000" l="10000" r="90000">
                          <a14:foregroundMark x1="28470" y1="11190" x2="28470" y2="1119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79389" y="3934889"/>
              <a:ext cx="1917634" cy="14331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4" name="Picture 1053">
              <a:extLst>
                <a:ext uri="{FF2B5EF4-FFF2-40B4-BE49-F238E27FC236}">
                  <a16:creationId xmlns:a16="http://schemas.microsoft.com/office/drawing/2014/main" id="{51FE64D6-9B5E-221E-8BDD-EA21222995C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7013" b="89964" l="8988" r="89972">
                          <a14:foregroundMark x1="14191" y1="13180" x2="58751" y2="11850"/>
                          <a14:foregroundMark x1="58751" y1="11850" x2="67171" y2="12576"/>
                          <a14:foregroundMark x1="67171" y1="12576" x2="67455" y2="12696"/>
                          <a14:foregroundMark x1="87039" y1="9190" x2="87512" y2="20435"/>
                          <a14:foregroundMark x1="87512" y1="20435" x2="14286" y2="22491"/>
                          <a14:foregroundMark x1="14286" y1="22491" x2="9082" y2="13059"/>
                          <a14:foregroundMark x1="9082" y1="13059" x2="25355" y2="10762"/>
                          <a14:foregroundMark x1="64144" y1="11004" x2="70672" y2="10399"/>
                          <a14:foregroundMark x1="70672" y1="10399" x2="81079" y2="10762"/>
                          <a14:foregroundMark x1="81079" y1="10762" x2="86093" y2="24547"/>
                          <a14:foregroundMark x1="86093" y1="24547" x2="86282" y2="27449"/>
                          <a14:foregroundMark x1="35099" y1="7255" x2="35099" y2="7255"/>
                          <a14:foregroundMark x1="35194" y1="7013" x2="35194" y2="7013"/>
                          <a14:foregroundMark x1="51750" y1="72672" x2="55156" y2="86941"/>
                          <a14:foregroundMark x1="88458" y1="80895" x2="11637" y2="85369"/>
                          <a14:foregroundMark x1="11637" y1="85369" x2="11353" y2="74849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804635" y="4035196"/>
              <a:ext cx="1630620" cy="1275802"/>
            </a:xfrm>
            <a:prstGeom prst="rect">
              <a:avLst/>
            </a:prstGeom>
          </p:spPr>
        </p:pic>
      </p:grpSp>
      <p:grpSp>
        <p:nvGrpSpPr>
          <p:cNvPr id="1066" name="Group 1065">
            <a:extLst>
              <a:ext uri="{FF2B5EF4-FFF2-40B4-BE49-F238E27FC236}">
                <a16:creationId xmlns:a16="http://schemas.microsoft.com/office/drawing/2014/main" id="{E41B1278-F5E6-143D-1C9A-3A381CC33C30}"/>
              </a:ext>
            </a:extLst>
          </p:cNvPr>
          <p:cNvGrpSpPr/>
          <p:nvPr/>
        </p:nvGrpSpPr>
        <p:grpSpPr>
          <a:xfrm>
            <a:off x="163229" y="642214"/>
            <a:ext cx="3289095" cy="1050875"/>
            <a:chOff x="163229" y="642214"/>
            <a:chExt cx="3542575" cy="1095904"/>
          </a:xfrm>
        </p:grpSpPr>
        <p:grpSp>
          <p:nvGrpSpPr>
            <p:cNvPr id="1065" name="Group 1064">
              <a:extLst>
                <a:ext uri="{FF2B5EF4-FFF2-40B4-BE49-F238E27FC236}">
                  <a16:creationId xmlns:a16="http://schemas.microsoft.com/office/drawing/2014/main" id="{B8270024-1FAC-9FF2-106A-BEBA683F1592}"/>
                </a:ext>
              </a:extLst>
            </p:cNvPr>
            <p:cNvGrpSpPr/>
            <p:nvPr/>
          </p:nvGrpSpPr>
          <p:grpSpPr>
            <a:xfrm>
              <a:off x="1266507" y="779721"/>
              <a:ext cx="2439297" cy="768129"/>
              <a:chOff x="1266507" y="779721"/>
              <a:chExt cx="2439297" cy="768129"/>
            </a:xfrm>
          </p:grpSpPr>
          <p:sp>
            <p:nvSpPr>
              <p:cNvPr id="2" name="Rectangle: Rounded Corners 1">
                <a:extLst>
                  <a:ext uri="{FF2B5EF4-FFF2-40B4-BE49-F238E27FC236}">
                    <a16:creationId xmlns:a16="http://schemas.microsoft.com/office/drawing/2014/main" id="{FDD61147-A490-0233-133C-8C40DF3DB326}"/>
                  </a:ext>
                </a:extLst>
              </p:cNvPr>
              <p:cNvSpPr/>
              <p:nvPr/>
            </p:nvSpPr>
            <p:spPr>
              <a:xfrm>
                <a:off x="1275746" y="792072"/>
                <a:ext cx="2430058" cy="755778"/>
              </a:xfrm>
              <a:prstGeom prst="roundRect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en-US" dirty="0" err="1">
                  <a:latin typeface="+mj-lt"/>
                </a:endParaRP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AACF0B23-3314-04F4-5C05-7B0EFD8B2359}"/>
                  </a:ext>
                </a:extLst>
              </p:cNvPr>
              <p:cNvSpPr txBox="1"/>
              <p:nvPr/>
            </p:nvSpPr>
            <p:spPr>
              <a:xfrm>
                <a:off x="1266507" y="779721"/>
                <a:ext cx="2430058" cy="70788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2000" dirty="0">
                    <a:solidFill>
                      <a:schemeClr val="bg1"/>
                    </a:solidFill>
                  </a:rPr>
                  <a:t>Does the patient have existing teeth?</a:t>
                </a:r>
              </a:p>
            </p:txBody>
          </p:sp>
        </p:grp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842BC06C-C3B6-A557-0F73-5D6EE46E2BC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63229" y="642214"/>
              <a:ext cx="1095904" cy="1095904"/>
            </a:xfrm>
            <a:prstGeom prst="rect">
              <a:avLst/>
            </a:prstGeom>
          </p:spPr>
        </p:pic>
      </p:grpSp>
      <p:grpSp>
        <p:nvGrpSpPr>
          <p:cNvPr id="1086" name="Group 1085">
            <a:extLst>
              <a:ext uri="{FF2B5EF4-FFF2-40B4-BE49-F238E27FC236}">
                <a16:creationId xmlns:a16="http://schemas.microsoft.com/office/drawing/2014/main" id="{66B8ED04-B748-CAE3-8D83-863596A5CF5E}"/>
              </a:ext>
            </a:extLst>
          </p:cNvPr>
          <p:cNvGrpSpPr/>
          <p:nvPr/>
        </p:nvGrpSpPr>
        <p:grpSpPr>
          <a:xfrm>
            <a:off x="1271860" y="1640785"/>
            <a:ext cx="677740" cy="496824"/>
            <a:chOff x="1803703" y="1640785"/>
            <a:chExt cx="677740" cy="496824"/>
          </a:xfrm>
        </p:grpSpPr>
        <p:cxnSp>
          <p:nvCxnSpPr>
            <p:cNvPr id="14" name="Straight Arrow Connector 13">
              <a:extLst>
                <a:ext uri="{FF2B5EF4-FFF2-40B4-BE49-F238E27FC236}">
                  <a16:creationId xmlns:a16="http://schemas.microsoft.com/office/drawing/2014/main" id="{FA79DFCE-63F4-BC44-1B0E-91433DC62AA1}"/>
                </a:ext>
              </a:extLst>
            </p:cNvPr>
            <p:cNvCxnSpPr>
              <a:cxnSpLocks/>
            </p:cNvCxnSpPr>
            <p:nvPr/>
          </p:nvCxnSpPr>
          <p:spPr>
            <a:xfrm>
              <a:off x="2481443" y="1643058"/>
              <a:ext cx="0" cy="494551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705BB75-B2EB-08DC-81B0-7B2A4A3290EB}"/>
                </a:ext>
              </a:extLst>
            </p:cNvPr>
            <p:cNvSpPr txBox="1"/>
            <p:nvPr/>
          </p:nvSpPr>
          <p:spPr>
            <a:xfrm>
              <a:off x="1803703" y="1640785"/>
              <a:ext cx="584933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accent2"/>
                  </a:solidFill>
                </a:rPr>
                <a:t>YES</a:t>
              </a:r>
            </a:p>
          </p:txBody>
        </p:sp>
      </p:grpSp>
      <p:grpSp>
        <p:nvGrpSpPr>
          <p:cNvPr id="1063" name="Group 1062">
            <a:extLst>
              <a:ext uri="{FF2B5EF4-FFF2-40B4-BE49-F238E27FC236}">
                <a16:creationId xmlns:a16="http://schemas.microsoft.com/office/drawing/2014/main" id="{6920FB2C-07A9-7421-3140-4DE1191F3281}"/>
              </a:ext>
            </a:extLst>
          </p:cNvPr>
          <p:cNvGrpSpPr/>
          <p:nvPr/>
        </p:nvGrpSpPr>
        <p:grpSpPr>
          <a:xfrm>
            <a:off x="702325" y="2204912"/>
            <a:ext cx="2462397" cy="1023458"/>
            <a:chOff x="1234168" y="2204912"/>
            <a:chExt cx="2462397" cy="1023458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A0BA1665-86EA-7BAC-C756-CBA08F9E88FB}"/>
                </a:ext>
              </a:extLst>
            </p:cNvPr>
            <p:cNvSpPr/>
            <p:nvPr/>
          </p:nvSpPr>
          <p:spPr>
            <a:xfrm>
              <a:off x="1266508" y="2209338"/>
              <a:ext cx="2430057" cy="1019032"/>
            </a:xfrm>
            <a:prstGeom prst="round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>
                <a:latin typeface="+mj-lt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08ACAFF-0B8A-AA8B-43CF-2A0608BD0E3C}"/>
                </a:ext>
              </a:extLst>
            </p:cNvPr>
            <p:cNvSpPr txBox="1"/>
            <p:nvPr/>
          </p:nvSpPr>
          <p:spPr>
            <a:xfrm>
              <a:off x="1234168" y="2204912"/>
              <a:ext cx="2430057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tx2"/>
                  </a:solidFill>
                </a:rPr>
                <a:t>Can the dentition support a partial prosthesis?</a:t>
              </a:r>
            </a:p>
          </p:txBody>
        </p:sp>
      </p:grpSp>
      <p:grpSp>
        <p:nvGrpSpPr>
          <p:cNvPr id="1061" name="Group 1060">
            <a:extLst>
              <a:ext uri="{FF2B5EF4-FFF2-40B4-BE49-F238E27FC236}">
                <a16:creationId xmlns:a16="http://schemas.microsoft.com/office/drawing/2014/main" id="{63148080-FE72-E356-47C1-2D770DAD7985}"/>
              </a:ext>
            </a:extLst>
          </p:cNvPr>
          <p:cNvGrpSpPr/>
          <p:nvPr/>
        </p:nvGrpSpPr>
        <p:grpSpPr>
          <a:xfrm>
            <a:off x="5037723" y="773409"/>
            <a:ext cx="2430058" cy="755779"/>
            <a:chOff x="5224339" y="792071"/>
            <a:chExt cx="2430058" cy="755779"/>
          </a:xfrm>
        </p:grpSpPr>
        <p:sp>
          <p:nvSpPr>
            <p:cNvPr id="50" name="Rectangle: Rounded Corners 49">
              <a:extLst>
                <a:ext uri="{FF2B5EF4-FFF2-40B4-BE49-F238E27FC236}">
                  <a16:creationId xmlns:a16="http://schemas.microsoft.com/office/drawing/2014/main" id="{3536957F-AC83-52AF-D8D8-55294CA722B3}"/>
                </a:ext>
              </a:extLst>
            </p:cNvPr>
            <p:cNvSpPr/>
            <p:nvPr/>
          </p:nvSpPr>
          <p:spPr>
            <a:xfrm>
              <a:off x="5224339" y="792071"/>
              <a:ext cx="2430058" cy="755779"/>
            </a:xfrm>
            <a:prstGeom prst="roundRect">
              <a:avLst/>
            </a:prstGeom>
            <a:solidFill>
              <a:schemeClr val="accent3"/>
            </a:solidFill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>
                <a:latin typeface="+mj-lt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F442DE2-2561-4D34-9FBB-A4931731785D}"/>
                </a:ext>
              </a:extLst>
            </p:cNvPr>
            <p:cNvSpPr txBox="1"/>
            <p:nvPr/>
          </p:nvSpPr>
          <p:spPr>
            <a:xfrm>
              <a:off x="5245223" y="795832"/>
              <a:ext cx="2409174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tx2"/>
                  </a:solidFill>
                </a:rPr>
                <a:t>Does the patient have existing dentures?</a:t>
              </a:r>
            </a:p>
          </p:txBody>
        </p:sp>
      </p:grpSp>
      <p:grpSp>
        <p:nvGrpSpPr>
          <p:cNvPr id="1064" name="Group 1063">
            <a:extLst>
              <a:ext uri="{FF2B5EF4-FFF2-40B4-BE49-F238E27FC236}">
                <a16:creationId xmlns:a16="http://schemas.microsoft.com/office/drawing/2014/main" id="{F2C3278C-5B7C-0821-84F9-408279A9A1CB}"/>
              </a:ext>
            </a:extLst>
          </p:cNvPr>
          <p:cNvGrpSpPr/>
          <p:nvPr/>
        </p:nvGrpSpPr>
        <p:grpSpPr>
          <a:xfrm>
            <a:off x="725575" y="3895665"/>
            <a:ext cx="2430057" cy="755778"/>
            <a:chOff x="1257418" y="3895665"/>
            <a:chExt cx="2430057" cy="755778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871F98F6-8415-0CA0-198E-A60E57AF99A5}"/>
                </a:ext>
              </a:extLst>
            </p:cNvPr>
            <p:cNvSpPr/>
            <p:nvPr/>
          </p:nvSpPr>
          <p:spPr>
            <a:xfrm>
              <a:off x="1257418" y="3895665"/>
              <a:ext cx="2430057" cy="755778"/>
            </a:xfrm>
            <a:prstGeom prst="round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>
                <a:latin typeface="+mj-lt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4D92D800-8280-53F2-895C-165E713342D4}"/>
                </a:ext>
              </a:extLst>
            </p:cNvPr>
            <p:cNvSpPr txBox="1"/>
            <p:nvPr/>
          </p:nvSpPr>
          <p:spPr>
            <a:xfrm>
              <a:off x="1275577" y="3909955"/>
              <a:ext cx="2411729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Is the dentition terminal?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C641E3B9-C5FE-05AA-6F0F-56071F4EDAF7}"/>
              </a:ext>
            </a:extLst>
          </p:cNvPr>
          <p:cNvGrpSpPr/>
          <p:nvPr/>
        </p:nvGrpSpPr>
        <p:grpSpPr>
          <a:xfrm>
            <a:off x="6821098" y="3638437"/>
            <a:ext cx="2547958" cy="975330"/>
            <a:chOff x="5801627" y="3160419"/>
            <a:chExt cx="4519333" cy="1697910"/>
          </a:xfrm>
        </p:grpSpPr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92AB1A40-9221-509D-68EF-90FD97940F3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8355" b="90981" l="8750" r="90703">
                          <a14:foregroundMark x1="8750" y1="26790" x2="8750" y2="26790"/>
                          <a14:foregroundMark x1="90859" y1="82759" x2="90859" y2="82759"/>
                          <a14:foregroundMark x1="65938" y1="91114" x2="65703" y2="91114"/>
                          <a14:foregroundMark x1="29922" y1="8355" x2="29922" y2="8355"/>
                          <a14:backgroundMark x1="70547" y1="44562" x2="70547" y2="44562"/>
                          <a14:backgroundMark x1="74609" y1="44430" x2="74609" y2="44430"/>
                          <a14:backgroundMark x1="75781" y1="44430" x2="75781" y2="44430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0614165">
              <a:off x="5801627" y="3279279"/>
              <a:ext cx="2478839" cy="1460191"/>
            </a:xfrm>
            <a:prstGeom prst="rect">
              <a:avLst/>
            </a:prstGeom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8BC7D40D-7B8E-A08A-3A93-E07C42E60D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backgroundRemoval t="5506" b="89885" l="9954" r="92166">
                          <a14:foregroundMark x1="25069" y1="15877" x2="25069" y2="15877"/>
                          <a14:foregroundMark x1="16406" y1="9987" x2="16406" y2="9987"/>
                          <a14:foregroundMark x1="57327" y1="16005" x2="57327" y2="16005"/>
                          <a14:foregroundMark x1="81382" y1="20871" x2="81382" y2="20871"/>
                          <a14:foregroundMark x1="78249" y1="19590" x2="46544" y2="18310"/>
                          <a14:foregroundMark x1="91889" y1="8323" x2="21935" y2="11268"/>
                          <a14:foregroundMark x1="21935" y1="11268" x2="12535" y2="9219"/>
                          <a14:foregroundMark x1="90046" y1="61716" x2="90046" y2="61716"/>
                          <a14:foregroundMark x1="12719" y1="87452" x2="51705" y2="82843"/>
                          <a14:foregroundMark x1="51705" y1="82843" x2="84516" y2="87196"/>
                          <a14:foregroundMark x1="87742" y1="55058" x2="90968" y2="61332"/>
                          <a14:foregroundMark x1="90968" y1="61332" x2="92166" y2="82586"/>
                          <a14:foregroundMark x1="92166" y1="82586" x2="91613" y2="88348"/>
                          <a14:foregroundMark x1="88295" y1="52497" x2="88295" y2="52497"/>
                          <a14:foregroundMark x1="90507" y1="53649" x2="90507" y2="53649"/>
                          <a14:foregroundMark x1="89493" y1="52497" x2="89493" y2="52497"/>
                          <a14:foregroundMark x1="91613" y1="56210" x2="91613" y2="56210"/>
                          <a14:foregroundMark x1="91152" y1="54545" x2="91152" y2="54545"/>
                          <a14:foregroundMark x1="44147" y1="6530" x2="44147" y2="6530"/>
                          <a14:foregroundMark x1="40829" y1="6658" x2="40829" y2="6658"/>
                          <a14:foregroundMark x1="35484" y1="6786" x2="35484" y2="6786"/>
                          <a14:foregroundMark x1="19355" y1="5634" x2="19355" y2="5634"/>
                          <a14:foregroundMark x1="25899" y1="6530" x2="25899" y2="6530"/>
                          <a14:foregroundMark x1="27465" y1="6018" x2="38986" y2="6914"/>
                          <a14:foregroundMark x1="11797" y1="5506" x2="29493" y2="7682"/>
                          <a14:foregroundMark x1="16037" y1="5890" x2="30230" y2="6786"/>
                          <a14:foregroundMark x1="91889" y1="8067" x2="82949" y2="8579"/>
                          <a14:foregroundMark x1="91429" y1="7682" x2="82949" y2="8579"/>
                          <a14:foregroundMark x1="15945" y1="54289" x2="12442" y2="66709"/>
                          <a14:backgroundMark x1="36313" y1="53905" x2="36313" y2="53905"/>
                          <a14:backgroundMark x1="65899" y1="54802" x2="65899" y2="54802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962148" y="3160419"/>
              <a:ext cx="2358812" cy="1697910"/>
            </a:xfrm>
            <a:prstGeom prst="rect">
              <a:avLst/>
            </a:prstGeom>
          </p:spPr>
        </p:pic>
      </p:grp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7647AB0-1EBC-AF42-E866-F1FD7D709FB1}"/>
              </a:ext>
            </a:extLst>
          </p:cNvPr>
          <p:cNvCxnSpPr>
            <a:cxnSpLocks/>
          </p:cNvCxnSpPr>
          <p:nvPr/>
        </p:nvCxnSpPr>
        <p:spPr>
          <a:xfrm>
            <a:off x="3333948" y="2718854"/>
            <a:ext cx="551005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67E2CAFA-1B0F-52E4-29F1-B41A85635F10}"/>
              </a:ext>
            </a:extLst>
          </p:cNvPr>
          <p:cNvSpPr txBox="1"/>
          <p:nvPr/>
        </p:nvSpPr>
        <p:spPr>
          <a:xfrm>
            <a:off x="3260932" y="2318744"/>
            <a:ext cx="63556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accent2"/>
                </a:solidFill>
              </a:rPr>
              <a:t>YES</a:t>
            </a:r>
          </a:p>
        </p:txBody>
      </p:sp>
      <p:grpSp>
        <p:nvGrpSpPr>
          <p:cNvPr id="1085" name="Group 1084">
            <a:extLst>
              <a:ext uri="{FF2B5EF4-FFF2-40B4-BE49-F238E27FC236}">
                <a16:creationId xmlns:a16="http://schemas.microsoft.com/office/drawing/2014/main" id="{88A8F40C-5FBC-F22F-C2E4-7E11C6F9BB8D}"/>
              </a:ext>
            </a:extLst>
          </p:cNvPr>
          <p:cNvGrpSpPr/>
          <p:nvPr/>
        </p:nvGrpSpPr>
        <p:grpSpPr>
          <a:xfrm>
            <a:off x="1305041" y="3326616"/>
            <a:ext cx="644559" cy="494551"/>
            <a:chOff x="1836884" y="3326616"/>
            <a:chExt cx="644559" cy="494551"/>
          </a:xfrm>
        </p:grpSpPr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A9055BDA-A9EF-F49B-EFDF-C70011E5BC43}"/>
                </a:ext>
              </a:extLst>
            </p:cNvPr>
            <p:cNvCxnSpPr>
              <a:cxnSpLocks/>
            </p:cNvCxnSpPr>
            <p:nvPr/>
          </p:nvCxnSpPr>
          <p:spPr>
            <a:xfrm>
              <a:off x="2481443" y="3326616"/>
              <a:ext cx="0" cy="494551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DF203BE-4F7B-2EB2-AEAD-BCDA0AAAB0D4}"/>
                </a:ext>
              </a:extLst>
            </p:cNvPr>
            <p:cNvSpPr txBox="1"/>
            <p:nvPr/>
          </p:nvSpPr>
          <p:spPr>
            <a:xfrm>
              <a:off x="1836884" y="3361962"/>
              <a:ext cx="551753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accent2"/>
                  </a:solidFill>
                </a:rPr>
                <a:t>NO</a:t>
              </a:r>
            </a:p>
          </p:txBody>
        </p:sp>
      </p:grpSp>
      <p:grpSp>
        <p:nvGrpSpPr>
          <p:cNvPr id="1084" name="Group 1083">
            <a:extLst>
              <a:ext uri="{FF2B5EF4-FFF2-40B4-BE49-F238E27FC236}">
                <a16:creationId xmlns:a16="http://schemas.microsoft.com/office/drawing/2014/main" id="{E0F16749-7A6A-16A6-F11A-5D66793ABEFF}"/>
              </a:ext>
            </a:extLst>
          </p:cNvPr>
          <p:cNvGrpSpPr/>
          <p:nvPr/>
        </p:nvGrpSpPr>
        <p:grpSpPr>
          <a:xfrm>
            <a:off x="1305039" y="4774698"/>
            <a:ext cx="635563" cy="494551"/>
            <a:chOff x="1836882" y="4774698"/>
            <a:chExt cx="635563" cy="494551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481819C-9932-A65D-3061-3AD4FDCAD14A}"/>
                </a:ext>
              </a:extLst>
            </p:cNvPr>
            <p:cNvSpPr txBox="1"/>
            <p:nvPr/>
          </p:nvSpPr>
          <p:spPr>
            <a:xfrm>
              <a:off x="1836882" y="4774698"/>
              <a:ext cx="635563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accent2"/>
                  </a:solidFill>
                </a:rPr>
                <a:t>YES</a:t>
              </a:r>
            </a:p>
          </p:txBody>
        </p: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4629F7AA-F81A-70CB-A3B7-4B7D44A344B6}"/>
                </a:ext>
              </a:extLst>
            </p:cNvPr>
            <p:cNvCxnSpPr>
              <a:cxnSpLocks/>
            </p:cNvCxnSpPr>
            <p:nvPr/>
          </p:nvCxnSpPr>
          <p:spPr>
            <a:xfrm>
              <a:off x="2472445" y="4774698"/>
              <a:ext cx="0" cy="494551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7" name="Graphic 46">
            <a:extLst>
              <a:ext uri="{FF2B5EF4-FFF2-40B4-BE49-F238E27FC236}">
                <a16:creationId xmlns:a16="http://schemas.microsoft.com/office/drawing/2014/main" id="{BF09675E-31D0-5299-7B6A-6EA3AC44ADA4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116177" y="666315"/>
            <a:ext cx="955808" cy="955808"/>
          </a:xfrm>
          <a:prstGeom prst="rect">
            <a:avLst/>
          </a:prstGeom>
        </p:spPr>
      </p:pic>
      <p:grpSp>
        <p:nvGrpSpPr>
          <p:cNvPr id="1067" name="Group 1066">
            <a:extLst>
              <a:ext uri="{FF2B5EF4-FFF2-40B4-BE49-F238E27FC236}">
                <a16:creationId xmlns:a16="http://schemas.microsoft.com/office/drawing/2014/main" id="{0B41F7C2-F714-D6BE-2149-32AAC0981630}"/>
              </a:ext>
            </a:extLst>
          </p:cNvPr>
          <p:cNvGrpSpPr/>
          <p:nvPr/>
        </p:nvGrpSpPr>
        <p:grpSpPr>
          <a:xfrm>
            <a:off x="3522194" y="726318"/>
            <a:ext cx="635563" cy="437434"/>
            <a:chOff x="3746134" y="726318"/>
            <a:chExt cx="635563" cy="437434"/>
          </a:xfrm>
        </p:grpSpPr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C797D6D3-044F-6A78-C5B1-974DB9E0FB15}"/>
                </a:ext>
              </a:extLst>
            </p:cNvPr>
            <p:cNvCxnSpPr>
              <a:cxnSpLocks/>
            </p:cNvCxnSpPr>
            <p:nvPr/>
          </p:nvCxnSpPr>
          <p:spPr>
            <a:xfrm>
              <a:off x="3809809" y="1163752"/>
              <a:ext cx="551005" cy="0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5AD9EA97-CEAA-184A-E605-ECF0E44D1C3F}"/>
                </a:ext>
              </a:extLst>
            </p:cNvPr>
            <p:cNvSpPr txBox="1"/>
            <p:nvPr/>
          </p:nvSpPr>
          <p:spPr>
            <a:xfrm>
              <a:off x="3746134" y="726318"/>
              <a:ext cx="635563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accent2"/>
                  </a:solidFill>
                </a:rPr>
                <a:t>NO</a:t>
              </a:r>
            </a:p>
          </p:txBody>
        </p:sp>
      </p:grp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1BC1B10D-4123-703C-D22F-A8F2648DEE1B}"/>
              </a:ext>
            </a:extLst>
          </p:cNvPr>
          <p:cNvCxnSpPr>
            <a:cxnSpLocks/>
          </p:cNvCxnSpPr>
          <p:nvPr/>
        </p:nvCxnSpPr>
        <p:spPr>
          <a:xfrm>
            <a:off x="7613076" y="1621267"/>
            <a:ext cx="383632" cy="378022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58">
            <a:extLst>
              <a:ext uri="{FF2B5EF4-FFF2-40B4-BE49-F238E27FC236}">
                <a16:creationId xmlns:a16="http://schemas.microsoft.com/office/drawing/2014/main" id="{0E0FD7FA-2382-F2D9-7AC0-46724C92F163}"/>
              </a:ext>
            </a:extLst>
          </p:cNvPr>
          <p:cNvSpPr txBox="1"/>
          <p:nvPr/>
        </p:nvSpPr>
        <p:spPr>
          <a:xfrm>
            <a:off x="7169072" y="1664872"/>
            <a:ext cx="63556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accent2"/>
                </a:solidFill>
              </a:rPr>
              <a:t>YES</a:t>
            </a:r>
          </a:p>
        </p:txBody>
      </p:sp>
      <p:grpSp>
        <p:nvGrpSpPr>
          <p:cNvPr id="1068" name="Group 1067">
            <a:extLst>
              <a:ext uri="{FF2B5EF4-FFF2-40B4-BE49-F238E27FC236}">
                <a16:creationId xmlns:a16="http://schemas.microsoft.com/office/drawing/2014/main" id="{99C5A325-A496-A54A-E752-434E54422C38}"/>
              </a:ext>
            </a:extLst>
          </p:cNvPr>
          <p:cNvGrpSpPr/>
          <p:nvPr/>
        </p:nvGrpSpPr>
        <p:grpSpPr>
          <a:xfrm>
            <a:off x="7590953" y="539884"/>
            <a:ext cx="657686" cy="416629"/>
            <a:chOff x="7777569" y="539884"/>
            <a:chExt cx="657686" cy="416629"/>
          </a:xfrm>
        </p:grpSpPr>
        <p:cxnSp>
          <p:nvCxnSpPr>
            <p:cNvPr id="53" name="Straight Arrow Connector 52">
              <a:extLst>
                <a:ext uri="{FF2B5EF4-FFF2-40B4-BE49-F238E27FC236}">
                  <a16:creationId xmlns:a16="http://schemas.microsoft.com/office/drawing/2014/main" id="{7037AEC4-B4A2-7D6E-FC71-26101E2DC6D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799692" y="949058"/>
              <a:ext cx="635563" cy="7455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34AF970F-B233-D81C-EC16-0ED0FF6FC574}"/>
                </a:ext>
              </a:extLst>
            </p:cNvPr>
            <p:cNvSpPr txBox="1"/>
            <p:nvPr/>
          </p:nvSpPr>
          <p:spPr>
            <a:xfrm>
              <a:off x="7777569" y="539884"/>
              <a:ext cx="635563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accent2"/>
                  </a:solidFill>
                </a:rPr>
                <a:t>NO</a:t>
              </a:r>
            </a:p>
          </p:txBody>
        </p:sp>
      </p:grpSp>
      <p:grpSp>
        <p:nvGrpSpPr>
          <p:cNvPr id="1092" name="Group 1091">
            <a:extLst>
              <a:ext uri="{FF2B5EF4-FFF2-40B4-BE49-F238E27FC236}">
                <a16:creationId xmlns:a16="http://schemas.microsoft.com/office/drawing/2014/main" id="{4AC583C7-8B73-A9DB-F3B5-7F309321D590}"/>
              </a:ext>
            </a:extLst>
          </p:cNvPr>
          <p:cNvGrpSpPr/>
          <p:nvPr/>
        </p:nvGrpSpPr>
        <p:grpSpPr>
          <a:xfrm>
            <a:off x="7716411" y="2127306"/>
            <a:ext cx="3554483" cy="826909"/>
            <a:chOff x="7893698" y="2071320"/>
            <a:chExt cx="3554483" cy="826909"/>
          </a:xfrm>
        </p:grpSpPr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1E48C19E-B76D-9CFF-1E03-9DEF091CB552}"/>
                </a:ext>
              </a:extLst>
            </p:cNvPr>
            <p:cNvSpPr/>
            <p:nvPr/>
          </p:nvSpPr>
          <p:spPr>
            <a:xfrm>
              <a:off x="7893698" y="2071320"/>
              <a:ext cx="3554483" cy="826909"/>
            </a:xfrm>
            <a:prstGeom prst="round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en-US" dirty="0" err="1">
                <a:latin typeface="+mj-lt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5F529DF5-5A2B-7875-09F3-401232FC8ED7}"/>
                </a:ext>
              </a:extLst>
            </p:cNvPr>
            <p:cNvSpPr txBox="1"/>
            <p:nvPr/>
          </p:nvSpPr>
          <p:spPr>
            <a:xfrm>
              <a:off x="7893698" y="2082893"/>
              <a:ext cx="3554483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</a:rPr>
                <a:t>Are the dentures esthetically and functionally acceptable?</a:t>
              </a:r>
            </a:p>
          </p:txBody>
        </p:sp>
      </p:grpSp>
      <p:sp>
        <p:nvSpPr>
          <p:cNvPr id="1025" name="TextBox 1024">
            <a:extLst>
              <a:ext uri="{FF2B5EF4-FFF2-40B4-BE49-F238E27FC236}">
                <a16:creationId xmlns:a16="http://schemas.microsoft.com/office/drawing/2014/main" id="{BDB5A0F4-CFF7-4F16-4888-50D0598CF9C4}"/>
              </a:ext>
            </a:extLst>
          </p:cNvPr>
          <p:cNvSpPr txBox="1"/>
          <p:nvPr/>
        </p:nvSpPr>
        <p:spPr>
          <a:xfrm>
            <a:off x="8573518" y="1221089"/>
            <a:ext cx="337709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/>
              <a:t>Full Denture without existing denture “direct to try-in”</a:t>
            </a:r>
          </a:p>
        </p:txBody>
      </p:sp>
      <p:grpSp>
        <p:nvGrpSpPr>
          <p:cNvPr id="1035" name="Group 1034">
            <a:extLst>
              <a:ext uri="{FF2B5EF4-FFF2-40B4-BE49-F238E27FC236}">
                <a16:creationId xmlns:a16="http://schemas.microsoft.com/office/drawing/2014/main" id="{D7560083-2ADE-0952-E90C-9D7991C01C5D}"/>
              </a:ext>
            </a:extLst>
          </p:cNvPr>
          <p:cNvGrpSpPr/>
          <p:nvPr/>
        </p:nvGrpSpPr>
        <p:grpSpPr>
          <a:xfrm>
            <a:off x="8389326" y="297231"/>
            <a:ext cx="3533223" cy="893933"/>
            <a:chOff x="8575942" y="297231"/>
            <a:chExt cx="3533223" cy="893933"/>
          </a:xfrm>
        </p:grpSpPr>
        <p:pic>
          <p:nvPicPr>
            <p:cNvPr id="1024" name="Picture 1023">
              <a:extLst>
                <a:ext uri="{FF2B5EF4-FFF2-40B4-BE49-F238E27FC236}">
                  <a16:creationId xmlns:a16="http://schemas.microsoft.com/office/drawing/2014/main" id="{D94F5921-8F71-A7EB-A388-D2D7B4332C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ackgroundRemoval t="7383" b="97047" l="7235" r="92009">
                          <a14:foregroundMark x1="7775" y1="61208" x2="7775" y2="63087"/>
                          <a14:foregroundMark x1="9071" y1="63356" x2="45032" y2="78255"/>
                          <a14:foregroundMark x1="36933" y1="86443" x2="60691" y2="88591"/>
                          <a14:foregroundMark x1="71274" y1="50201" x2="71274" y2="50201"/>
                          <a14:foregroundMark x1="73434" y1="51812" x2="73434" y2="51812"/>
                          <a14:foregroundMark x1="74730" y1="22148" x2="74730" y2="22148"/>
                          <a14:foregroundMark x1="77322" y1="16376" x2="29806" y2="17987"/>
                          <a14:foregroundMark x1="32181" y1="32886" x2="62959" y2="31812"/>
                          <a14:foregroundMark x1="76566" y1="34497" x2="81857" y2="34228"/>
                          <a14:foregroundMark x1="82721" y1="32617" x2="82721" y2="32617"/>
                          <a14:foregroundMark x1="82505" y1="32886" x2="82505" y2="32886"/>
                          <a14:foregroundMark x1="76458" y1="36510" x2="78186" y2="36376"/>
                          <a14:foregroundMark x1="79806" y1="36510" x2="79806" y2="36510"/>
                          <a14:foregroundMark x1="80130" y1="35570" x2="83909" y2="33020"/>
                          <a14:foregroundMark x1="29158" y1="16779" x2="26242" y2="28993"/>
                          <a14:foregroundMark x1="25702" y1="36242" x2="17279" y2="23356"/>
                          <a14:foregroundMark x1="17279" y1="23356" x2="18898" y2="18255"/>
                          <a14:foregroundMark x1="68143" y1="40671" x2="68143" y2="40671"/>
                          <a14:foregroundMark x1="17495" y1="28859" x2="17495" y2="28859"/>
                          <a14:foregroundMark x1="69222" y1="85638" x2="61555" y2="95973"/>
                          <a14:foregroundMark x1="19438" y1="80403" x2="29374" y2="90738"/>
                          <a14:foregroundMark x1="29374" y1="90738" x2="29698" y2="90738"/>
                          <a14:foregroundMark x1="76134" y1="97181" x2="76134" y2="97181"/>
                          <a14:foregroundMark x1="91037" y1="59060" x2="91037" y2="59060"/>
                          <a14:foregroundMark x1="86609" y1="53423" x2="86609" y2="53423"/>
                          <a14:foregroundMark x1="92009" y1="57450" x2="92009" y2="57450"/>
                          <a14:foregroundMark x1="68898" y1="8993" x2="29158" y2="7383"/>
                          <a14:foregroundMark x1="29158" y1="7383" x2="29482" y2="9396"/>
                        </a14:backgroundRemoval>
                      </a14:imgEffect>
                    </a14:imgLayer>
                  </a14:imgProps>
                </a:ext>
              </a:extLst>
            </a:blip>
            <a:srcRect b="17549"/>
            <a:stretch/>
          </p:blipFill>
          <p:spPr>
            <a:xfrm flipH="1">
              <a:off x="8575942" y="308493"/>
              <a:ext cx="1330631" cy="882671"/>
            </a:xfrm>
            <a:prstGeom prst="rect">
              <a:avLst/>
            </a:prstGeom>
          </p:spPr>
        </p:pic>
        <p:pic>
          <p:nvPicPr>
            <p:cNvPr id="1028" name="Picture 4" descr="quality_control_images">
              <a:extLst>
                <a:ext uri="{FF2B5EF4-FFF2-40B4-BE49-F238E27FC236}">
                  <a16:creationId xmlns:a16="http://schemas.microsoft.com/office/drawing/2014/main" id="{EDBC8665-9624-8C56-FBF4-45678D2E50D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print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ackgroundRemoval t="6705" b="81740" l="9952" r="89952">
                          <a14:foregroundMark x1="37778" y1="10556" x2="37778" y2="10556"/>
                          <a14:foregroundMark x1="49372" y1="9272" x2="49372" y2="9272"/>
                          <a14:foregroundMark x1="69082" y1="10842" x2="69082" y2="10842"/>
                          <a14:foregroundMark x1="47633" y1="6705" x2="47633" y2="6705"/>
                          <a14:foregroundMark x1="52174" y1="71755" x2="52174" y2="71755"/>
                          <a14:foregroundMark x1="23285" y1="72183" x2="52657" y2="73039"/>
                          <a14:foregroundMark x1="74686" y1="72325" x2="68019" y2="74037"/>
                          <a14:foregroundMark x1="16329" y1="76034" x2="18454" y2="76034"/>
                          <a14:foregroundMark x1="23575" y1="15977" x2="47536" y2="9986"/>
                          <a14:foregroundMark x1="47536" y1="9986" x2="47536" y2="9986"/>
                          <a14:foregroundMark x1="24928" y1="11698" x2="22029" y2="15407"/>
                          <a14:foregroundMark x1="20000" y1="76034" x2="23478" y2="76177"/>
                          <a14:foregroundMark x1="24831" y1="76034" x2="40966" y2="75036"/>
                          <a14:foregroundMark x1="40966" y1="75036" x2="71884" y2="77889"/>
                          <a14:foregroundMark x1="71884" y1="77889" x2="78068" y2="76748"/>
                          <a14:foregroundMark x1="49275" y1="76177" x2="48792" y2="8174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34" r="16890" b="22439"/>
            <a:stretch/>
          </p:blipFill>
          <p:spPr bwMode="auto">
            <a:xfrm flipH="1">
              <a:off x="9914939" y="297231"/>
              <a:ext cx="1237152" cy="865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4" name="Picture 6" descr="InHouse Digital Denture Protocol - Stewart Dental Lab">
              <a:extLst>
                <a:ext uri="{FF2B5EF4-FFF2-40B4-BE49-F238E27FC236}">
                  <a16:creationId xmlns:a16="http://schemas.microsoft.com/office/drawing/2014/main" id="{362E03A6-A61E-2122-92E3-67D2CA2DB3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220329" y="487644"/>
              <a:ext cx="888836" cy="6088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40" name="TextBox 1039">
            <a:extLst>
              <a:ext uri="{FF2B5EF4-FFF2-40B4-BE49-F238E27FC236}">
                <a16:creationId xmlns:a16="http://schemas.microsoft.com/office/drawing/2014/main" id="{D49C9BDE-598F-7637-FDAD-A998EAFA738C}"/>
              </a:ext>
            </a:extLst>
          </p:cNvPr>
          <p:cNvSpPr txBox="1"/>
          <p:nvPr/>
        </p:nvSpPr>
        <p:spPr>
          <a:xfrm>
            <a:off x="8200583" y="3023225"/>
            <a:ext cx="63556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accent2"/>
                </a:solidFill>
              </a:rPr>
              <a:t>NO</a:t>
            </a:r>
          </a:p>
        </p:txBody>
      </p:sp>
      <p:sp>
        <p:nvSpPr>
          <p:cNvPr id="1041" name="TextBox 1040">
            <a:extLst>
              <a:ext uri="{FF2B5EF4-FFF2-40B4-BE49-F238E27FC236}">
                <a16:creationId xmlns:a16="http://schemas.microsoft.com/office/drawing/2014/main" id="{80F81848-CA62-A9E5-1F77-DD09A8C12C98}"/>
              </a:ext>
            </a:extLst>
          </p:cNvPr>
          <p:cNvSpPr txBox="1"/>
          <p:nvPr/>
        </p:nvSpPr>
        <p:spPr>
          <a:xfrm>
            <a:off x="7063815" y="4582634"/>
            <a:ext cx="21515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/>
              <a:t>Reference Denture</a:t>
            </a:r>
          </a:p>
        </p:txBody>
      </p:sp>
      <p:sp>
        <p:nvSpPr>
          <p:cNvPr id="1044" name="TextBox 1043">
            <a:extLst>
              <a:ext uri="{FF2B5EF4-FFF2-40B4-BE49-F238E27FC236}">
                <a16:creationId xmlns:a16="http://schemas.microsoft.com/office/drawing/2014/main" id="{02429342-A2A8-6D62-8B62-6C390EA34479}"/>
              </a:ext>
            </a:extLst>
          </p:cNvPr>
          <p:cNvSpPr txBox="1"/>
          <p:nvPr/>
        </p:nvSpPr>
        <p:spPr>
          <a:xfrm>
            <a:off x="10204615" y="3032573"/>
            <a:ext cx="63556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000" dirty="0">
                <a:solidFill>
                  <a:schemeClr val="accent2"/>
                </a:solidFill>
              </a:rPr>
              <a:t>YES</a:t>
            </a:r>
          </a:p>
        </p:txBody>
      </p:sp>
      <p:grpSp>
        <p:nvGrpSpPr>
          <p:cNvPr id="1048" name="Group 1047">
            <a:extLst>
              <a:ext uri="{FF2B5EF4-FFF2-40B4-BE49-F238E27FC236}">
                <a16:creationId xmlns:a16="http://schemas.microsoft.com/office/drawing/2014/main" id="{FD537F4F-BBCE-D12A-D5C0-B83914DFF2F9}"/>
              </a:ext>
            </a:extLst>
          </p:cNvPr>
          <p:cNvGrpSpPr/>
          <p:nvPr/>
        </p:nvGrpSpPr>
        <p:grpSpPr>
          <a:xfrm>
            <a:off x="9423158" y="3722433"/>
            <a:ext cx="2926834" cy="835345"/>
            <a:chOff x="5136706" y="4188311"/>
            <a:chExt cx="4467160" cy="1271641"/>
          </a:xfrm>
        </p:grpSpPr>
        <p:pic>
          <p:nvPicPr>
            <p:cNvPr id="1046" name="Picture 1045">
              <a:extLst>
                <a:ext uri="{FF2B5EF4-FFF2-40B4-BE49-F238E27FC236}">
                  <a16:creationId xmlns:a16="http://schemas.microsoft.com/office/drawing/2014/main" id="{7004231A-D2B5-A253-207D-9BB3E53CC4D8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backgroundRemoval t="9873" b="89809" l="8179" r="90928">
                          <a14:foregroundMark x1="6873" y1="31369" x2="8179" y2="43312"/>
                          <a14:foregroundMark x1="8179" y1="43312" x2="8316" y2="43312"/>
                          <a14:foregroundMark x1="90928" y1="37739" x2="90928" y2="45860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136706" y="4188311"/>
              <a:ext cx="2146039" cy="926263"/>
            </a:xfrm>
            <a:prstGeom prst="rect">
              <a:avLst/>
            </a:prstGeom>
          </p:spPr>
        </p:pic>
        <p:pic>
          <p:nvPicPr>
            <p:cNvPr id="1047" name="Picture 8" descr="quality_control_images">
              <a:extLst>
                <a:ext uri="{FF2B5EF4-FFF2-40B4-BE49-F238E27FC236}">
                  <a16:creationId xmlns:a16="http://schemas.microsoft.com/office/drawing/2014/main" id="{4375B22B-EF00-8EE1-A060-7C7C1D74DEE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08731" y="4281209"/>
              <a:ext cx="2595135" cy="11787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49" name="TextBox 1048">
            <a:extLst>
              <a:ext uri="{FF2B5EF4-FFF2-40B4-BE49-F238E27FC236}">
                <a16:creationId xmlns:a16="http://schemas.microsoft.com/office/drawing/2014/main" id="{8ABC3D69-EB4C-605C-3D69-0C30080AD335}"/>
              </a:ext>
            </a:extLst>
          </p:cNvPr>
          <p:cNvSpPr txBox="1"/>
          <p:nvPr/>
        </p:nvSpPr>
        <p:spPr>
          <a:xfrm>
            <a:off x="10012947" y="4353515"/>
            <a:ext cx="15502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/>
              <a:t>Copy Denture</a:t>
            </a:r>
          </a:p>
        </p:txBody>
      </p:sp>
      <p:sp>
        <p:nvSpPr>
          <p:cNvPr id="1056" name="TextBox 1055">
            <a:extLst>
              <a:ext uri="{FF2B5EF4-FFF2-40B4-BE49-F238E27FC236}">
                <a16:creationId xmlns:a16="http://schemas.microsoft.com/office/drawing/2014/main" id="{C67BC030-6935-23DA-5AC2-532933A96AD1}"/>
              </a:ext>
            </a:extLst>
          </p:cNvPr>
          <p:cNvSpPr txBox="1"/>
          <p:nvPr/>
        </p:nvSpPr>
        <p:spPr>
          <a:xfrm>
            <a:off x="4074091" y="2992106"/>
            <a:ext cx="273371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dirty="0"/>
              <a:t>Partial Dentures with or without a framework</a:t>
            </a:r>
          </a:p>
        </p:txBody>
      </p:sp>
      <p:cxnSp>
        <p:nvCxnSpPr>
          <p:cNvPr id="1057" name="Straight Arrow Connector 1056">
            <a:extLst>
              <a:ext uri="{FF2B5EF4-FFF2-40B4-BE49-F238E27FC236}">
                <a16:creationId xmlns:a16="http://schemas.microsoft.com/office/drawing/2014/main" id="{113866B2-55E2-5EC6-E003-9CF823991BC0}"/>
              </a:ext>
            </a:extLst>
          </p:cNvPr>
          <p:cNvCxnSpPr>
            <a:cxnSpLocks/>
          </p:cNvCxnSpPr>
          <p:nvPr/>
        </p:nvCxnSpPr>
        <p:spPr>
          <a:xfrm flipH="1">
            <a:off x="8564813" y="3066450"/>
            <a:ext cx="395196" cy="535159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9" name="Straight Arrow Connector 1058">
            <a:extLst>
              <a:ext uri="{FF2B5EF4-FFF2-40B4-BE49-F238E27FC236}">
                <a16:creationId xmlns:a16="http://schemas.microsoft.com/office/drawing/2014/main" id="{85C0BC83-12AD-D0D6-2466-9E5C4CA02F10}"/>
              </a:ext>
            </a:extLst>
          </p:cNvPr>
          <p:cNvCxnSpPr>
            <a:cxnSpLocks/>
          </p:cNvCxnSpPr>
          <p:nvPr/>
        </p:nvCxnSpPr>
        <p:spPr>
          <a:xfrm>
            <a:off x="10020233" y="3076213"/>
            <a:ext cx="383403" cy="534744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73" name="Picture 20" descr="Implant-Supported Dentures: General Practice | Glidewell">
            <a:extLst>
              <a:ext uri="{FF2B5EF4-FFF2-40B4-BE49-F238E27FC236}">
                <a16:creationId xmlns:a16="http://schemas.microsoft.com/office/drawing/2014/main" id="{36F22996-9046-FD8C-1224-FBB2AFEF60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9709" b="90153" l="5703" r="92813">
                        <a14:foregroundMark x1="10781" y1="34813" x2="10781" y2="34813"/>
                        <a14:foregroundMark x1="7109" y1="20250" x2="5859" y2="37587"/>
                        <a14:foregroundMark x1="5859" y1="37587" x2="6328" y2="44244"/>
                        <a14:foregroundMark x1="37031" y1="24549" x2="31797" y2="47989"/>
                        <a14:foregroundMark x1="31797" y1="47989" x2="31797" y2="47989"/>
                        <a14:foregroundMark x1="34688" y1="21637" x2="30781" y2="40638"/>
                        <a14:foregroundMark x1="30781" y1="49931" x2="35439" y2="45844"/>
                        <a14:foregroundMark x1="63672" y1="29681" x2="65469" y2="22885"/>
                        <a14:foregroundMark x1="65469" y1="22885" x2="69453" y2="14979"/>
                        <a14:foregroundMark x1="69453" y1="14979" x2="75156" y2="14147"/>
                        <a14:foregroundMark x1="75156" y1="14147" x2="81563" y2="26214"/>
                        <a14:foregroundMark x1="81563" y1="26214" x2="82734" y2="30929"/>
                        <a14:foregroundMark x1="92813" y1="38003" x2="88359" y2="43273"/>
                        <a14:foregroundMark x1="88359" y1="43273" x2="78281" y2="47989"/>
                        <a14:foregroundMark x1="78281" y1="47989" x2="73203" y2="44244"/>
                        <a14:foregroundMark x1="73203" y1="44244" x2="71641" y2="35229"/>
                        <a14:foregroundMark x1="71641" y1="35229" x2="73438" y2="31900"/>
                        <a14:foregroundMark x1="48594" y1="88766" x2="56250" y2="90153"/>
                        <a14:foregroundMark x1="56250" y1="90153" x2="66641" y2="86130"/>
                        <a14:backgroundMark x1="72813" y1="53814" x2="79922" y2="56311"/>
                        <a14:backgroundMark x1="79922" y1="56311" x2="89688" y2="55201"/>
                        <a14:backgroundMark x1="37266" y1="44244" x2="37266" y2="46463"/>
                        <a14:backgroundMark x1="36953" y1="44521" x2="37266" y2="4646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3815" y="5086712"/>
            <a:ext cx="2100653" cy="1183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74" name="Rectangle: Rounded Corners 1073">
            <a:extLst>
              <a:ext uri="{FF2B5EF4-FFF2-40B4-BE49-F238E27FC236}">
                <a16:creationId xmlns:a16="http://schemas.microsoft.com/office/drawing/2014/main" id="{94B757C7-4112-F9D8-1C0D-4FE928BCD99D}"/>
              </a:ext>
            </a:extLst>
          </p:cNvPr>
          <p:cNvSpPr/>
          <p:nvPr/>
        </p:nvSpPr>
        <p:spPr>
          <a:xfrm>
            <a:off x="7169072" y="4626239"/>
            <a:ext cx="1918944" cy="293781"/>
          </a:xfrm>
          <a:prstGeom prst="roundRect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>
              <a:latin typeface="+mj-lt"/>
            </a:endParaRPr>
          </a:p>
        </p:txBody>
      </p:sp>
      <p:sp>
        <p:nvSpPr>
          <p:cNvPr id="1075" name="Rectangle: Rounded Corners 1074">
            <a:extLst>
              <a:ext uri="{FF2B5EF4-FFF2-40B4-BE49-F238E27FC236}">
                <a16:creationId xmlns:a16="http://schemas.microsoft.com/office/drawing/2014/main" id="{3E16E6CD-FED5-0248-A66D-1A7C7ED171C6}"/>
              </a:ext>
            </a:extLst>
          </p:cNvPr>
          <p:cNvSpPr/>
          <p:nvPr/>
        </p:nvSpPr>
        <p:spPr>
          <a:xfrm>
            <a:off x="10085036" y="4375274"/>
            <a:ext cx="1406061" cy="369331"/>
          </a:xfrm>
          <a:prstGeom prst="roundRect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>
              <a:latin typeface="+mj-lt"/>
            </a:endParaRPr>
          </a:p>
        </p:txBody>
      </p:sp>
      <p:grpSp>
        <p:nvGrpSpPr>
          <p:cNvPr id="1083" name="Group 1082">
            <a:extLst>
              <a:ext uri="{FF2B5EF4-FFF2-40B4-BE49-F238E27FC236}">
                <a16:creationId xmlns:a16="http://schemas.microsoft.com/office/drawing/2014/main" id="{9EF67CEE-8CF2-C465-C4EC-F9E316FB0A8E}"/>
              </a:ext>
            </a:extLst>
          </p:cNvPr>
          <p:cNvGrpSpPr/>
          <p:nvPr/>
        </p:nvGrpSpPr>
        <p:grpSpPr>
          <a:xfrm>
            <a:off x="356421" y="5163266"/>
            <a:ext cx="3248118" cy="1490960"/>
            <a:chOff x="888264" y="5163266"/>
            <a:chExt cx="3248118" cy="1490960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8DA0BDE-9127-D559-C4A1-20358DB2DCE6}"/>
                </a:ext>
              </a:extLst>
            </p:cNvPr>
            <p:cNvSpPr txBox="1"/>
            <p:nvPr/>
          </p:nvSpPr>
          <p:spPr>
            <a:xfrm>
              <a:off x="1407460" y="6254117"/>
              <a:ext cx="2151572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dirty="0"/>
                <a:t>Immediate Denture</a:t>
              </a:r>
            </a:p>
          </p:txBody>
        </p:sp>
        <p:grpSp>
          <p:nvGrpSpPr>
            <p:cNvPr id="1082" name="Group 1081">
              <a:extLst>
                <a:ext uri="{FF2B5EF4-FFF2-40B4-BE49-F238E27FC236}">
                  <a16:creationId xmlns:a16="http://schemas.microsoft.com/office/drawing/2014/main" id="{4D09F7B8-5E92-C5CC-F563-CC1ED7A7A9BB}"/>
                </a:ext>
              </a:extLst>
            </p:cNvPr>
            <p:cNvGrpSpPr/>
            <p:nvPr/>
          </p:nvGrpSpPr>
          <p:grpSpPr>
            <a:xfrm>
              <a:off x="888264" y="5163266"/>
              <a:ext cx="3248118" cy="1490960"/>
              <a:chOff x="888264" y="5163266"/>
              <a:chExt cx="3248118" cy="1490960"/>
            </a:xfrm>
          </p:grpSpPr>
          <p:grpSp>
            <p:nvGrpSpPr>
              <p:cNvPr id="1037" name="Group 1036">
                <a:extLst>
                  <a:ext uri="{FF2B5EF4-FFF2-40B4-BE49-F238E27FC236}">
                    <a16:creationId xmlns:a16="http://schemas.microsoft.com/office/drawing/2014/main" id="{A4E0A25F-837C-D78E-95CF-967C83DECC98}"/>
                  </a:ext>
                </a:extLst>
              </p:cNvPr>
              <p:cNvGrpSpPr/>
              <p:nvPr/>
            </p:nvGrpSpPr>
            <p:grpSpPr>
              <a:xfrm>
                <a:off x="888264" y="5163266"/>
                <a:ext cx="3248118" cy="1102392"/>
                <a:chOff x="888264" y="5163266"/>
                <a:chExt cx="3248118" cy="1102392"/>
              </a:xfrm>
            </p:grpSpPr>
            <p:pic>
              <p:nvPicPr>
                <p:cNvPr id="1026" name="Picture 2" descr="quality_control_images">
                  <a:extLst>
                    <a:ext uri="{FF2B5EF4-FFF2-40B4-BE49-F238E27FC236}">
                      <a16:creationId xmlns:a16="http://schemas.microsoft.com/office/drawing/2014/main" id="{C2073995-DD23-5E72-56CC-D335F4783281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25" cstate="print">
                  <a:extLst>
                    <a:ext uri="{BEBA8EAE-BF5A-486C-A8C5-ECC9F3942E4B}">
                      <a14:imgProps xmlns:a14="http://schemas.microsoft.com/office/drawing/2010/main">
                        <a14:imgLayer r:embed="rId26">
                          <a14:imgEffect>
                            <a14:backgroundRemoval t="8011" b="89917" l="9970" r="89930">
                              <a14:foregroundMark x1="85543" y1="88122" x2="85543" y2="88122"/>
                              <a14:foregroundMark x1="39482" y1="8011" x2="39482" y2="8011"/>
                              <a14:backgroundMark x1="77966" y1="53729" x2="77966" y2="53729"/>
                            </a14:backgroundRemoval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29265" y="5216548"/>
                  <a:ext cx="1407117" cy="101566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grpSp>
              <p:nvGrpSpPr>
                <p:cNvPr id="1036" name="Group 1035">
                  <a:extLst>
                    <a:ext uri="{FF2B5EF4-FFF2-40B4-BE49-F238E27FC236}">
                      <a16:creationId xmlns:a16="http://schemas.microsoft.com/office/drawing/2014/main" id="{89D27A03-A530-487C-3C98-E0DF18452206}"/>
                    </a:ext>
                  </a:extLst>
                </p:cNvPr>
                <p:cNvGrpSpPr/>
                <p:nvPr/>
              </p:nvGrpSpPr>
              <p:grpSpPr>
                <a:xfrm>
                  <a:off x="888264" y="5163266"/>
                  <a:ext cx="2135377" cy="1102392"/>
                  <a:chOff x="888264" y="5163266"/>
                  <a:chExt cx="2135377" cy="1102392"/>
                </a:xfrm>
              </p:grpSpPr>
              <p:pic>
                <p:nvPicPr>
                  <p:cNvPr id="35" name="Picture 34">
                    <a:extLst>
                      <a:ext uri="{FF2B5EF4-FFF2-40B4-BE49-F238E27FC236}">
                        <a16:creationId xmlns:a16="http://schemas.microsoft.com/office/drawing/2014/main" id="{3A69073E-DB3C-6031-3825-75A9539ABA8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7">
                    <a:extLst>
                      <a:ext uri="{BEBA8EAE-BF5A-486C-A8C5-ECC9F3942E4B}">
                        <a14:imgProps xmlns:a14="http://schemas.microsoft.com/office/drawing/2010/main">
                          <a14:imgLayer r:embed="rId28">
                            <a14:imgEffect>
                              <a14:backgroundRemoval t="3926" b="96074" l="5534" r="95631">
                                <a14:foregroundMark x1="37087" y1="17669" x2="37087" y2="17669"/>
                                <a14:foregroundMark x1="11748" y1="9080" x2="46117" y2="8834"/>
                                <a14:foregroundMark x1="46117" y1="8834" x2="61456" y2="11043"/>
                                <a14:foregroundMark x1="89515" y1="52761" x2="91845" y2="60859"/>
                                <a14:foregroundMark x1="91845" y1="60859" x2="91748" y2="73620"/>
                                <a14:foregroundMark x1="91748" y1="73620" x2="89029" y2="82454"/>
                                <a14:foregroundMark x1="89029" y1="82454" x2="35922" y2="85153"/>
                                <a14:foregroundMark x1="35922" y1="85153" x2="22330" y2="83067"/>
                                <a14:foregroundMark x1="22330" y1="83067" x2="15631" y2="86503"/>
                                <a14:foregroundMark x1="15631" y1="86503" x2="8544" y2="72147"/>
                                <a14:foregroundMark x1="8544" y1="72147" x2="7379" y2="60491"/>
                                <a14:foregroundMark x1="7379" y1="60491" x2="8350" y2="51656"/>
                                <a14:foregroundMark x1="8350" y1="51656" x2="8544" y2="51288"/>
                                <a14:foregroundMark x1="11165" y1="14724" x2="5728" y2="44172"/>
                                <a14:foregroundMark x1="35922" y1="4663" x2="81359" y2="7975"/>
                                <a14:foregroundMark x1="81359" y1="7975" x2="88738" y2="18037"/>
                                <a14:foregroundMark x1="88738" y1="18037" x2="90485" y2="41963"/>
                                <a14:foregroundMark x1="94175" y1="51534" x2="97670" y2="71411"/>
                                <a14:foregroundMark x1="97670" y1="71411" x2="94854" y2="86503"/>
                                <a14:foregroundMark x1="94854" y1="86503" x2="90485" y2="91902"/>
                                <a14:foregroundMark x1="90485" y1="91902" x2="51748" y2="95828"/>
                                <a14:foregroundMark x1="51748" y1="95828" x2="11650" y2="89202"/>
                                <a14:foregroundMark x1="11650" y1="89202" x2="11650" y2="89202"/>
                                <a14:foregroundMark x1="32427" y1="96196" x2="19417" y2="95706"/>
                                <a14:foregroundMark x1="94854" y1="53988" x2="95728" y2="89571"/>
                                <a14:foregroundMark x1="29320" y1="4540" x2="45146" y2="3926"/>
                                <a14:foregroundMark x1="45146" y1="3926" x2="57184" y2="4908"/>
                                <a14:foregroundMark x1="5534" y1="56687" x2="6019" y2="93865"/>
                                <a14:backgroundMark x1="68155" y1="55828" x2="68155" y2="55828"/>
                                <a14:backgroundMark x1="73495" y1="55092" x2="73495" y2="55092"/>
                                <a14:backgroundMark x1="84078" y1="49816" x2="84078" y2="49816"/>
                                <a14:backgroundMark x1="86893" y1="49202" x2="86893" y2="49202"/>
                              </a14:backgroundRemoval>
                            </a14:imgEffect>
                          </a14:imgLayer>
                        </a14:imgProps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888264" y="5257590"/>
                    <a:ext cx="1154794" cy="913745"/>
                  </a:xfrm>
                  <a:prstGeom prst="rect">
                    <a:avLst/>
                  </a:prstGeom>
                </p:spPr>
              </p:pic>
              <p:pic>
                <p:nvPicPr>
                  <p:cNvPr id="45" name="Graphic 44">
                    <a:extLst>
                      <a:ext uri="{FF2B5EF4-FFF2-40B4-BE49-F238E27FC236}">
                        <a16:creationId xmlns:a16="http://schemas.microsoft.com/office/drawing/2014/main" id="{A2D57B2B-0A9D-061F-4037-728110C7D6A7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29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  <a:ext uri="{96DAC541-7B7A-43D3-8B79-37D633B846F1}">
                        <asvg:svgBlip xmlns:asvg="http://schemas.microsoft.com/office/drawing/2016/SVG/main" r:embed="rId30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921249" y="5163266"/>
                    <a:ext cx="1102392" cy="1102392"/>
                  </a:xfrm>
                  <a:prstGeom prst="rect">
                    <a:avLst/>
                  </a:prstGeom>
                </p:spPr>
              </p:pic>
            </p:grpSp>
          </p:grpSp>
          <p:sp>
            <p:nvSpPr>
              <p:cNvPr id="1076" name="Rectangle: Rounded Corners 1075">
                <a:extLst>
                  <a:ext uri="{FF2B5EF4-FFF2-40B4-BE49-F238E27FC236}">
                    <a16:creationId xmlns:a16="http://schemas.microsoft.com/office/drawing/2014/main" id="{3906F11B-A6D0-51B6-6B15-4937706DAA91}"/>
                  </a:ext>
                </a:extLst>
              </p:cNvPr>
              <p:cNvSpPr/>
              <p:nvPr/>
            </p:nvSpPr>
            <p:spPr>
              <a:xfrm>
                <a:off x="1502227" y="6289220"/>
                <a:ext cx="1958524" cy="365006"/>
              </a:xfrm>
              <a:prstGeom prst="roundRect">
                <a:avLst/>
              </a:prstGeom>
              <a:noFill/>
              <a:ln>
                <a:solidFill>
                  <a:schemeClr val="accent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/>
                <a:endParaRPr lang="en-US" dirty="0" err="1">
                  <a:latin typeface="+mj-lt"/>
                </a:endParaRPr>
              </a:p>
            </p:txBody>
          </p:sp>
        </p:grpSp>
      </p:grpSp>
      <p:sp>
        <p:nvSpPr>
          <p:cNvPr id="1077" name="Rectangle: Rounded Corners 1076">
            <a:extLst>
              <a:ext uri="{FF2B5EF4-FFF2-40B4-BE49-F238E27FC236}">
                <a16:creationId xmlns:a16="http://schemas.microsoft.com/office/drawing/2014/main" id="{72B238AF-CCFD-D664-2876-A7B12DFE7E46}"/>
              </a:ext>
            </a:extLst>
          </p:cNvPr>
          <p:cNvSpPr/>
          <p:nvPr/>
        </p:nvSpPr>
        <p:spPr>
          <a:xfrm>
            <a:off x="4325941" y="3059019"/>
            <a:ext cx="2230014" cy="579418"/>
          </a:xfrm>
          <a:prstGeom prst="roundRect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>
              <a:latin typeface="+mj-lt"/>
            </a:endParaRPr>
          </a:p>
        </p:txBody>
      </p:sp>
      <p:sp>
        <p:nvSpPr>
          <p:cNvPr id="1078" name="Rectangle: Rounded Corners 1077">
            <a:extLst>
              <a:ext uri="{FF2B5EF4-FFF2-40B4-BE49-F238E27FC236}">
                <a16:creationId xmlns:a16="http://schemas.microsoft.com/office/drawing/2014/main" id="{44EF0CA8-F12D-2C80-003D-A7862E40E2F8}"/>
              </a:ext>
            </a:extLst>
          </p:cNvPr>
          <p:cNvSpPr/>
          <p:nvPr/>
        </p:nvSpPr>
        <p:spPr>
          <a:xfrm>
            <a:off x="8910372" y="1279830"/>
            <a:ext cx="2724901" cy="592275"/>
          </a:xfrm>
          <a:prstGeom prst="roundRect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>
              <a:latin typeface="+mj-lt"/>
            </a:endParaRPr>
          </a:p>
        </p:txBody>
      </p:sp>
      <p:sp>
        <p:nvSpPr>
          <p:cNvPr id="1081" name="TextBox 1080">
            <a:extLst>
              <a:ext uri="{FF2B5EF4-FFF2-40B4-BE49-F238E27FC236}">
                <a16:creationId xmlns:a16="http://schemas.microsoft.com/office/drawing/2014/main" id="{A5955DC6-4AA8-32F4-FF58-E50DAD5D4D59}"/>
              </a:ext>
            </a:extLst>
          </p:cNvPr>
          <p:cNvSpPr txBox="1"/>
          <p:nvPr/>
        </p:nvSpPr>
        <p:spPr>
          <a:xfrm>
            <a:off x="6204827" y="6256754"/>
            <a:ext cx="401606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800" dirty="0"/>
              <a:t>Overdentures/implant supported dentures</a:t>
            </a:r>
          </a:p>
        </p:txBody>
      </p:sp>
      <p:sp>
        <p:nvSpPr>
          <p:cNvPr id="1087" name="Rectangle: Rounded Corners 1086">
            <a:extLst>
              <a:ext uri="{FF2B5EF4-FFF2-40B4-BE49-F238E27FC236}">
                <a16:creationId xmlns:a16="http://schemas.microsoft.com/office/drawing/2014/main" id="{39806E6A-CAE9-C9A1-827B-11DCC7388989}"/>
              </a:ext>
            </a:extLst>
          </p:cNvPr>
          <p:cNvSpPr/>
          <p:nvPr/>
        </p:nvSpPr>
        <p:spPr>
          <a:xfrm>
            <a:off x="6237753" y="6254846"/>
            <a:ext cx="3955149" cy="365006"/>
          </a:xfrm>
          <a:prstGeom prst="roundRect">
            <a:avLst/>
          </a:prstGeom>
          <a:noFill/>
          <a:ln>
            <a:solidFill>
              <a:schemeClr val="accent3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>
              <a:latin typeface="+mj-lt"/>
            </a:endParaRPr>
          </a:p>
        </p:txBody>
      </p:sp>
      <p:sp>
        <p:nvSpPr>
          <p:cNvPr id="1089" name="Rectangle: Rounded Corners 1088">
            <a:extLst>
              <a:ext uri="{FF2B5EF4-FFF2-40B4-BE49-F238E27FC236}">
                <a16:creationId xmlns:a16="http://schemas.microsoft.com/office/drawing/2014/main" id="{20383493-0655-4D02-2170-88F77AC236C9}"/>
              </a:ext>
            </a:extLst>
          </p:cNvPr>
          <p:cNvSpPr/>
          <p:nvPr/>
        </p:nvSpPr>
        <p:spPr>
          <a:xfrm>
            <a:off x="3883808" y="6121601"/>
            <a:ext cx="2212191" cy="605859"/>
          </a:xfrm>
          <a:prstGeom prst="roundRect">
            <a:avLst/>
          </a:prstGeom>
          <a:noFill/>
          <a:ln>
            <a:solidFill>
              <a:schemeClr val="accent3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US" dirty="0" err="1">
              <a:latin typeface="+mj-lt"/>
            </a:endParaRPr>
          </a:p>
        </p:txBody>
      </p:sp>
      <p:sp>
        <p:nvSpPr>
          <p:cNvPr id="1091" name="TextBox 1090">
            <a:extLst>
              <a:ext uri="{FF2B5EF4-FFF2-40B4-BE49-F238E27FC236}">
                <a16:creationId xmlns:a16="http://schemas.microsoft.com/office/drawing/2014/main" id="{DB16507E-2381-DC70-0234-A05320DFDDA7}"/>
              </a:ext>
            </a:extLst>
          </p:cNvPr>
          <p:cNvSpPr txBox="1"/>
          <p:nvPr/>
        </p:nvSpPr>
        <p:spPr>
          <a:xfrm>
            <a:off x="156344" y="98981"/>
            <a:ext cx="460078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Removable Prosthetic </a:t>
            </a:r>
            <a:r>
              <a:rPr lang="en-US" sz="2400" dirty="0"/>
              <a:t>Treatments</a:t>
            </a:r>
          </a:p>
        </p:txBody>
      </p:sp>
      <p:pic>
        <p:nvPicPr>
          <p:cNvPr id="1097" name="Picture 22">
            <a:extLst>
              <a:ext uri="{FF2B5EF4-FFF2-40B4-BE49-F238E27FC236}">
                <a16:creationId xmlns:a16="http://schemas.microsoft.com/office/drawing/2014/main" id="{FBF77395-C90F-81CE-11AE-2E0D15FEF5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9389" y="4816792"/>
            <a:ext cx="1473944" cy="1179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0431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BEB">
            <a:alpha val="44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5" name="Group 1054">
            <a:extLst>
              <a:ext uri="{FF2B5EF4-FFF2-40B4-BE49-F238E27FC236}">
                <a16:creationId xmlns:a16="http://schemas.microsoft.com/office/drawing/2014/main" id="{20DAA1E0-36F3-246B-8D68-C5074F480153}"/>
              </a:ext>
            </a:extLst>
          </p:cNvPr>
          <p:cNvGrpSpPr/>
          <p:nvPr/>
        </p:nvGrpSpPr>
        <p:grpSpPr>
          <a:xfrm>
            <a:off x="1463525" y="1246431"/>
            <a:ext cx="8631272" cy="4089885"/>
            <a:chOff x="5179389" y="3934889"/>
            <a:chExt cx="3255866" cy="1433107"/>
          </a:xfrm>
        </p:grpSpPr>
        <p:pic>
          <p:nvPicPr>
            <p:cNvPr id="1050" name="Picture 10" descr="quality_control_images">
              <a:extLst>
                <a:ext uri="{FF2B5EF4-FFF2-40B4-BE49-F238E27FC236}">
                  <a16:creationId xmlns:a16="http://schemas.microsoft.com/office/drawing/2014/main" id="{826503D0-DAA8-FCD0-6075-511D4792B9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10000" b="90000" l="10000" r="90000">
                          <a14:foregroundMark x1="28470" y1="11190" x2="28470" y2="1119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79389" y="3934889"/>
              <a:ext cx="1917634" cy="14331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4" name="Picture 1053">
              <a:extLst>
                <a:ext uri="{FF2B5EF4-FFF2-40B4-BE49-F238E27FC236}">
                  <a16:creationId xmlns:a16="http://schemas.microsoft.com/office/drawing/2014/main" id="{51FE64D6-9B5E-221E-8BDD-EA21222995C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7013" b="89964" l="8988" r="89972">
                          <a14:foregroundMark x1="14191" y1="13180" x2="58751" y2="11850"/>
                          <a14:foregroundMark x1="58751" y1="11850" x2="67171" y2="12576"/>
                          <a14:foregroundMark x1="67171" y1="12576" x2="67455" y2="12696"/>
                          <a14:foregroundMark x1="87039" y1="9190" x2="87512" y2="20435"/>
                          <a14:foregroundMark x1="87512" y1="20435" x2="14286" y2="22491"/>
                          <a14:foregroundMark x1="14286" y1="22491" x2="9082" y2="13059"/>
                          <a14:foregroundMark x1="9082" y1="13059" x2="25355" y2="10762"/>
                          <a14:foregroundMark x1="64144" y1="11004" x2="70672" y2="10399"/>
                          <a14:foregroundMark x1="70672" y1="10399" x2="81079" y2="10762"/>
                          <a14:foregroundMark x1="81079" y1="10762" x2="86093" y2="24547"/>
                          <a14:foregroundMark x1="86093" y1="24547" x2="86282" y2="27449"/>
                          <a14:foregroundMark x1="35099" y1="7255" x2="35099" y2="7255"/>
                          <a14:foregroundMark x1="35194" y1="7013" x2="35194" y2="7013"/>
                          <a14:foregroundMark x1="51750" y1="72672" x2="55156" y2="86941"/>
                          <a14:foregroundMark x1="88458" y1="80895" x2="11637" y2="85369"/>
                          <a14:foregroundMark x1="11637" y1="85369" x2="11353" y2="74849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804635" y="4035196"/>
              <a:ext cx="1630620" cy="1275802"/>
            </a:xfrm>
            <a:prstGeom prst="rect">
              <a:avLst/>
            </a:prstGeom>
          </p:spPr>
        </p:pic>
      </p:grpSp>
      <p:sp>
        <p:nvSpPr>
          <p:cNvPr id="1056" name="TextBox 1055">
            <a:extLst>
              <a:ext uri="{FF2B5EF4-FFF2-40B4-BE49-F238E27FC236}">
                <a16:creationId xmlns:a16="http://schemas.microsoft.com/office/drawing/2014/main" id="{C67BC030-6935-23DA-5AC2-532933A96AD1}"/>
              </a:ext>
            </a:extLst>
          </p:cNvPr>
          <p:cNvSpPr txBox="1"/>
          <p:nvPr/>
        </p:nvSpPr>
        <p:spPr>
          <a:xfrm>
            <a:off x="156344" y="6389687"/>
            <a:ext cx="562281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Partial Dentures with or without a framework</a:t>
            </a:r>
          </a:p>
        </p:txBody>
      </p:sp>
      <p:sp>
        <p:nvSpPr>
          <p:cNvPr id="1091" name="TextBox 1090">
            <a:extLst>
              <a:ext uri="{FF2B5EF4-FFF2-40B4-BE49-F238E27FC236}">
                <a16:creationId xmlns:a16="http://schemas.microsoft.com/office/drawing/2014/main" id="{DB16507E-2381-DC70-0234-A05320DFDDA7}"/>
              </a:ext>
            </a:extLst>
          </p:cNvPr>
          <p:cNvSpPr txBox="1"/>
          <p:nvPr/>
        </p:nvSpPr>
        <p:spPr>
          <a:xfrm>
            <a:off x="156344" y="98981"/>
            <a:ext cx="460078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Removable Prosthetic </a:t>
            </a:r>
            <a:r>
              <a:rPr lang="en-US" sz="2400" dirty="0"/>
              <a:t>Treatments</a:t>
            </a:r>
          </a:p>
        </p:txBody>
      </p:sp>
    </p:spTree>
    <p:extLst>
      <p:ext uri="{BB962C8B-B14F-4D97-AF65-F5344CB8AC3E}">
        <p14:creationId xmlns:p14="http://schemas.microsoft.com/office/powerpoint/2010/main" val="15952291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BEB">
            <a:alpha val="44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TextBox 1024">
            <a:extLst>
              <a:ext uri="{FF2B5EF4-FFF2-40B4-BE49-F238E27FC236}">
                <a16:creationId xmlns:a16="http://schemas.microsoft.com/office/drawing/2014/main" id="{BDB5A0F4-CFF7-4F16-4888-50D0598CF9C4}"/>
              </a:ext>
            </a:extLst>
          </p:cNvPr>
          <p:cNvSpPr txBox="1"/>
          <p:nvPr/>
        </p:nvSpPr>
        <p:spPr>
          <a:xfrm>
            <a:off x="156344" y="6389687"/>
            <a:ext cx="79776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Full Denture without existing denture, “direct to try-in”</a:t>
            </a:r>
          </a:p>
        </p:txBody>
      </p:sp>
      <p:grpSp>
        <p:nvGrpSpPr>
          <p:cNvPr id="1035" name="Group 1034">
            <a:extLst>
              <a:ext uri="{FF2B5EF4-FFF2-40B4-BE49-F238E27FC236}">
                <a16:creationId xmlns:a16="http://schemas.microsoft.com/office/drawing/2014/main" id="{D7560083-2ADE-0952-E90C-9D7991C01C5D}"/>
              </a:ext>
            </a:extLst>
          </p:cNvPr>
          <p:cNvGrpSpPr/>
          <p:nvPr/>
        </p:nvGrpSpPr>
        <p:grpSpPr>
          <a:xfrm>
            <a:off x="1044026" y="1726163"/>
            <a:ext cx="10103947" cy="2649894"/>
            <a:chOff x="8575942" y="297231"/>
            <a:chExt cx="3533223" cy="893933"/>
          </a:xfrm>
        </p:grpSpPr>
        <p:pic>
          <p:nvPicPr>
            <p:cNvPr id="1024" name="Picture 1023">
              <a:extLst>
                <a:ext uri="{FF2B5EF4-FFF2-40B4-BE49-F238E27FC236}">
                  <a16:creationId xmlns:a16="http://schemas.microsoft.com/office/drawing/2014/main" id="{D94F5921-8F71-A7EB-A388-D2D7B4332C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7383" b="97047" l="7235" r="92009">
                          <a14:foregroundMark x1="7775" y1="61208" x2="7775" y2="63087"/>
                          <a14:foregroundMark x1="9071" y1="63356" x2="45032" y2="78255"/>
                          <a14:foregroundMark x1="36933" y1="86443" x2="60691" y2="88591"/>
                          <a14:foregroundMark x1="71274" y1="50201" x2="71274" y2="50201"/>
                          <a14:foregroundMark x1="73434" y1="51812" x2="73434" y2="51812"/>
                          <a14:foregroundMark x1="74730" y1="22148" x2="74730" y2="22148"/>
                          <a14:foregroundMark x1="77322" y1="16376" x2="29806" y2="17987"/>
                          <a14:foregroundMark x1="32181" y1="32886" x2="62959" y2="31812"/>
                          <a14:foregroundMark x1="76566" y1="34497" x2="81857" y2="34228"/>
                          <a14:foregroundMark x1="82721" y1="32617" x2="82721" y2="32617"/>
                          <a14:foregroundMark x1="82505" y1="32886" x2="82505" y2="32886"/>
                          <a14:foregroundMark x1="76458" y1="36510" x2="78186" y2="36376"/>
                          <a14:foregroundMark x1="79806" y1="36510" x2="79806" y2="36510"/>
                          <a14:foregroundMark x1="80130" y1="35570" x2="83909" y2="33020"/>
                          <a14:foregroundMark x1="29158" y1="16779" x2="26242" y2="28993"/>
                          <a14:foregroundMark x1="25702" y1="36242" x2="17279" y2="23356"/>
                          <a14:foregroundMark x1="17279" y1="23356" x2="18898" y2="18255"/>
                          <a14:foregroundMark x1="68143" y1="40671" x2="68143" y2="40671"/>
                          <a14:foregroundMark x1="17495" y1="28859" x2="17495" y2="28859"/>
                          <a14:foregroundMark x1="69222" y1="85638" x2="61555" y2="95973"/>
                          <a14:foregroundMark x1="19438" y1="80403" x2="29374" y2="90738"/>
                          <a14:foregroundMark x1="29374" y1="90738" x2="29698" y2="90738"/>
                          <a14:foregroundMark x1="76134" y1="97181" x2="76134" y2="97181"/>
                          <a14:foregroundMark x1="91037" y1="59060" x2="91037" y2="59060"/>
                          <a14:foregroundMark x1="86609" y1="53423" x2="86609" y2="53423"/>
                          <a14:foregroundMark x1="92009" y1="57450" x2="92009" y2="57450"/>
                          <a14:foregroundMark x1="68898" y1="8993" x2="29158" y2="7383"/>
                          <a14:foregroundMark x1="29158" y1="7383" x2="29482" y2="9396"/>
                        </a14:backgroundRemoval>
                      </a14:imgEffect>
                    </a14:imgLayer>
                  </a14:imgProps>
                </a:ext>
              </a:extLst>
            </a:blip>
            <a:srcRect b="17549"/>
            <a:stretch/>
          </p:blipFill>
          <p:spPr>
            <a:xfrm flipH="1">
              <a:off x="8575942" y="308493"/>
              <a:ext cx="1330631" cy="882671"/>
            </a:xfrm>
            <a:prstGeom prst="rect">
              <a:avLst/>
            </a:prstGeom>
          </p:spPr>
        </p:pic>
        <p:pic>
          <p:nvPicPr>
            <p:cNvPr id="1028" name="Picture 4" descr="quality_control_images">
              <a:extLst>
                <a:ext uri="{FF2B5EF4-FFF2-40B4-BE49-F238E27FC236}">
                  <a16:creationId xmlns:a16="http://schemas.microsoft.com/office/drawing/2014/main" id="{EDBC8665-9624-8C56-FBF4-45678D2E50D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6705" b="81740" l="9952" r="89952">
                          <a14:foregroundMark x1="37778" y1="10556" x2="37778" y2="10556"/>
                          <a14:foregroundMark x1="49372" y1="9272" x2="49372" y2="9272"/>
                          <a14:foregroundMark x1="69082" y1="10842" x2="69082" y2="10842"/>
                          <a14:foregroundMark x1="47633" y1="6705" x2="47633" y2="6705"/>
                          <a14:foregroundMark x1="52174" y1="71755" x2="52174" y2="71755"/>
                          <a14:foregroundMark x1="23285" y1="72183" x2="52657" y2="73039"/>
                          <a14:foregroundMark x1="74686" y1="72325" x2="68019" y2="74037"/>
                          <a14:foregroundMark x1="16329" y1="76034" x2="18454" y2="76034"/>
                          <a14:foregroundMark x1="23575" y1="15977" x2="47536" y2="9986"/>
                          <a14:foregroundMark x1="47536" y1="9986" x2="47536" y2="9986"/>
                          <a14:foregroundMark x1="24928" y1="11698" x2="22029" y2="15407"/>
                          <a14:foregroundMark x1="20000" y1="76034" x2="23478" y2="76177"/>
                          <a14:foregroundMark x1="24831" y1="76034" x2="40966" y2="75036"/>
                          <a14:foregroundMark x1="40966" y1="75036" x2="71884" y2="77889"/>
                          <a14:foregroundMark x1="71884" y1="77889" x2="78068" y2="76748"/>
                          <a14:foregroundMark x1="49275" y1="76177" x2="48792" y2="81740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34" r="16890" b="22439"/>
            <a:stretch/>
          </p:blipFill>
          <p:spPr bwMode="auto">
            <a:xfrm flipH="1">
              <a:off x="9914939" y="297231"/>
              <a:ext cx="1237152" cy="865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4" name="Picture 6" descr="InHouse Digital Denture Protocol - Stewart Dental Lab">
              <a:extLst>
                <a:ext uri="{FF2B5EF4-FFF2-40B4-BE49-F238E27FC236}">
                  <a16:creationId xmlns:a16="http://schemas.microsoft.com/office/drawing/2014/main" id="{362E03A6-A61E-2122-92E3-67D2CA2DB3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11220329" y="487644"/>
              <a:ext cx="888836" cy="6088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91" name="TextBox 1090">
            <a:extLst>
              <a:ext uri="{FF2B5EF4-FFF2-40B4-BE49-F238E27FC236}">
                <a16:creationId xmlns:a16="http://schemas.microsoft.com/office/drawing/2014/main" id="{DB16507E-2381-DC70-0234-A05320DFDDA7}"/>
              </a:ext>
            </a:extLst>
          </p:cNvPr>
          <p:cNvSpPr txBox="1"/>
          <p:nvPr/>
        </p:nvSpPr>
        <p:spPr>
          <a:xfrm>
            <a:off x="156344" y="98981"/>
            <a:ext cx="460078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Removable Prosthetic </a:t>
            </a:r>
            <a:r>
              <a:rPr lang="en-US" sz="2400" dirty="0"/>
              <a:t>Treatments</a:t>
            </a:r>
          </a:p>
        </p:txBody>
      </p:sp>
    </p:spTree>
    <p:extLst>
      <p:ext uri="{BB962C8B-B14F-4D97-AF65-F5344CB8AC3E}">
        <p14:creationId xmlns:p14="http://schemas.microsoft.com/office/powerpoint/2010/main" val="37376784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BEB">
            <a:alpha val="44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>
            <a:extLst>
              <a:ext uri="{FF2B5EF4-FFF2-40B4-BE49-F238E27FC236}">
                <a16:creationId xmlns:a16="http://schemas.microsoft.com/office/drawing/2014/main" id="{C641E3B9-C5FE-05AA-6F0F-56071F4EDAF7}"/>
              </a:ext>
            </a:extLst>
          </p:cNvPr>
          <p:cNvGrpSpPr/>
          <p:nvPr/>
        </p:nvGrpSpPr>
        <p:grpSpPr>
          <a:xfrm>
            <a:off x="1715276" y="1885347"/>
            <a:ext cx="8444205" cy="3087305"/>
            <a:chOff x="5801627" y="3160419"/>
            <a:chExt cx="4519333" cy="1697910"/>
          </a:xfrm>
        </p:grpSpPr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92AB1A40-9221-509D-68EF-90FD97940F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8355" b="90981" l="8750" r="90703">
                          <a14:foregroundMark x1="8750" y1="26790" x2="8750" y2="26790"/>
                          <a14:foregroundMark x1="90859" y1="82759" x2="90859" y2="82759"/>
                          <a14:foregroundMark x1="65938" y1="91114" x2="65703" y2="91114"/>
                          <a14:foregroundMark x1="29922" y1="8355" x2="29922" y2="8355"/>
                          <a14:backgroundMark x1="70547" y1="44562" x2="70547" y2="44562"/>
                          <a14:backgroundMark x1="74609" y1="44430" x2="74609" y2="44430"/>
                          <a14:backgroundMark x1="75781" y1="44430" x2="75781" y2="44430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10614165">
              <a:off x="5801627" y="3279279"/>
              <a:ext cx="2478839" cy="1460191"/>
            </a:xfrm>
            <a:prstGeom prst="rect">
              <a:avLst/>
            </a:prstGeom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8BC7D40D-7B8E-A08A-3A93-E07C42E60D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5506" b="89885" l="9954" r="92166">
                          <a14:foregroundMark x1="25069" y1="15877" x2="25069" y2="15877"/>
                          <a14:foregroundMark x1="16406" y1="9987" x2="16406" y2="9987"/>
                          <a14:foregroundMark x1="57327" y1="16005" x2="57327" y2="16005"/>
                          <a14:foregroundMark x1="81382" y1="20871" x2="81382" y2="20871"/>
                          <a14:foregroundMark x1="78249" y1="19590" x2="46544" y2="18310"/>
                          <a14:foregroundMark x1="91889" y1="8323" x2="21935" y2="11268"/>
                          <a14:foregroundMark x1="21935" y1="11268" x2="12535" y2="9219"/>
                          <a14:foregroundMark x1="90046" y1="61716" x2="90046" y2="61716"/>
                          <a14:foregroundMark x1="12719" y1="87452" x2="51705" y2="82843"/>
                          <a14:foregroundMark x1="51705" y1="82843" x2="84516" y2="87196"/>
                          <a14:foregroundMark x1="87742" y1="55058" x2="90968" y2="61332"/>
                          <a14:foregroundMark x1="90968" y1="61332" x2="92166" y2="82586"/>
                          <a14:foregroundMark x1="92166" y1="82586" x2="91613" y2="88348"/>
                          <a14:foregroundMark x1="88295" y1="52497" x2="88295" y2="52497"/>
                          <a14:foregroundMark x1="90507" y1="53649" x2="90507" y2="53649"/>
                          <a14:foregroundMark x1="89493" y1="52497" x2="89493" y2="52497"/>
                          <a14:foregroundMark x1="91613" y1="56210" x2="91613" y2="56210"/>
                          <a14:foregroundMark x1="91152" y1="54545" x2="91152" y2="54545"/>
                          <a14:foregroundMark x1="44147" y1="6530" x2="44147" y2="6530"/>
                          <a14:foregroundMark x1="40829" y1="6658" x2="40829" y2="6658"/>
                          <a14:foregroundMark x1="35484" y1="6786" x2="35484" y2="6786"/>
                          <a14:foregroundMark x1="19355" y1="5634" x2="19355" y2="5634"/>
                          <a14:foregroundMark x1="25899" y1="6530" x2="25899" y2="6530"/>
                          <a14:foregroundMark x1="27465" y1="6018" x2="38986" y2="6914"/>
                          <a14:foregroundMark x1="11797" y1="5506" x2="29493" y2="7682"/>
                          <a14:foregroundMark x1="16037" y1="5890" x2="30230" y2="6786"/>
                          <a14:foregroundMark x1="91889" y1="8067" x2="82949" y2="8579"/>
                          <a14:foregroundMark x1="91429" y1="7682" x2="82949" y2="8579"/>
                          <a14:foregroundMark x1="15945" y1="54289" x2="12442" y2="66709"/>
                          <a14:backgroundMark x1="36313" y1="53905" x2="36313" y2="53905"/>
                          <a14:backgroundMark x1="65899" y1="54802" x2="65899" y2="54802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962148" y="3160419"/>
              <a:ext cx="2358812" cy="1697910"/>
            </a:xfrm>
            <a:prstGeom prst="rect">
              <a:avLst/>
            </a:prstGeom>
          </p:spPr>
        </p:pic>
      </p:grpSp>
      <p:sp>
        <p:nvSpPr>
          <p:cNvPr id="1041" name="TextBox 1040">
            <a:extLst>
              <a:ext uri="{FF2B5EF4-FFF2-40B4-BE49-F238E27FC236}">
                <a16:creationId xmlns:a16="http://schemas.microsoft.com/office/drawing/2014/main" id="{80F81848-CA62-A9E5-1F77-DD09A8C12C98}"/>
              </a:ext>
            </a:extLst>
          </p:cNvPr>
          <p:cNvSpPr txBox="1"/>
          <p:nvPr/>
        </p:nvSpPr>
        <p:spPr>
          <a:xfrm>
            <a:off x="156344" y="6389687"/>
            <a:ext cx="21515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Reference Denture</a:t>
            </a:r>
          </a:p>
        </p:txBody>
      </p:sp>
      <p:sp>
        <p:nvSpPr>
          <p:cNvPr id="1091" name="TextBox 1090">
            <a:extLst>
              <a:ext uri="{FF2B5EF4-FFF2-40B4-BE49-F238E27FC236}">
                <a16:creationId xmlns:a16="http://schemas.microsoft.com/office/drawing/2014/main" id="{DB16507E-2381-DC70-0234-A05320DFDDA7}"/>
              </a:ext>
            </a:extLst>
          </p:cNvPr>
          <p:cNvSpPr txBox="1"/>
          <p:nvPr/>
        </p:nvSpPr>
        <p:spPr>
          <a:xfrm>
            <a:off x="156344" y="98981"/>
            <a:ext cx="460078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Removable Prosthetic </a:t>
            </a:r>
            <a:r>
              <a:rPr lang="en-US" sz="2400" dirty="0"/>
              <a:t>Treatments</a:t>
            </a:r>
          </a:p>
        </p:txBody>
      </p:sp>
    </p:spTree>
    <p:extLst>
      <p:ext uri="{BB962C8B-B14F-4D97-AF65-F5344CB8AC3E}">
        <p14:creationId xmlns:p14="http://schemas.microsoft.com/office/powerpoint/2010/main" val="17604194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BEB">
            <a:alpha val="44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6" name="Picture 1045">
            <a:extLst>
              <a:ext uri="{FF2B5EF4-FFF2-40B4-BE49-F238E27FC236}">
                <a16:creationId xmlns:a16="http://schemas.microsoft.com/office/drawing/2014/main" id="{7004231A-D2B5-A253-207D-9BB3E53CC4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873" b="89809" l="8179" r="90928">
                        <a14:foregroundMark x1="6873" y1="31369" x2="8179" y2="43312"/>
                        <a14:foregroundMark x1="8179" y1="43312" x2="8316" y2="43312"/>
                        <a14:foregroundMark x1="90928" y1="37739" x2="90928" y2="4586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15616" y="2409362"/>
            <a:ext cx="5027522" cy="2039275"/>
          </a:xfrm>
          <a:prstGeom prst="rect">
            <a:avLst/>
          </a:prstGeom>
        </p:spPr>
      </p:pic>
      <p:sp>
        <p:nvSpPr>
          <p:cNvPr id="1049" name="TextBox 1048">
            <a:extLst>
              <a:ext uri="{FF2B5EF4-FFF2-40B4-BE49-F238E27FC236}">
                <a16:creationId xmlns:a16="http://schemas.microsoft.com/office/drawing/2014/main" id="{8ABC3D69-EB4C-605C-3D69-0C30080AD335}"/>
              </a:ext>
            </a:extLst>
          </p:cNvPr>
          <p:cNvSpPr txBox="1"/>
          <p:nvPr/>
        </p:nvSpPr>
        <p:spPr>
          <a:xfrm>
            <a:off x="156344" y="6389687"/>
            <a:ext cx="155023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opy Denture</a:t>
            </a:r>
          </a:p>
        </p:txBody>
      </p:sp>
      <p:sp>
        <p:nvSpPr>
          <p:cNvPr id="1091" name="TextBox 1090">
            <a:extLst>
              <a:ext uri="{FF2B5EF4-FFF2-40B4-BE49-F238E27FC236}">
                <a16:creationId xmlns:a16="http://schemas.microsoft.com/office/drawing/2014/main" id="{DB16507E-2381-DC70-0234-A05320DFDDA7}"/>
              </a:ext>
            </a:extLst>
          </p:cNvPr>
          <p:cNvSpPr txBox="1"/>
          <p:nvPr/>
        </p:nvSpPr>
        <p:spPr>
          <a:xfrm>
            <a:off x="156344" y="98981"/>
            <a:ext cx="460078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Removable Prosthetic </a:t>
            </a:r>
            <a:r>
              <a:rPr lang="en-US" sz="2400" dirty="0"/>
              <a:t>Treatments</a:t>
            </a:r>
          </a:p>
        </p:txBody>
      </p:sp>
      <p:pic>
        <p:nvPicPr>
          <p:cNvPr id="3074" name="Picture 2" descr="quality_control_images">
            <a:extLst>
              <a:ext uri="{FF2B5EF4-FFF2-40B4-BE49-F238E27FC236}">
                <a16:creationId xmlns:a16="http://schemas.microsoft.com/office/drawing/2014/main" id="{8181C04F-15F6-DA50-6FB6-D940D17672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7397" y="2562242"/>
            <a:ext cx="5879884" cy="2670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68883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BEB">
            <a:alpha val="44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Box 35">
            <a:extLst>
              <a:ext uri="{FF2B5EF4-FFF2-40B4-BE49-F238E27FC236}">
                <a16:creationId xmlns:a16="http://schemas.microsoft.com/office/drawing/2014/main" id="{08DA0BDE-9127-D559-C4A1-20358DB2DCE6}"/>
              </a:ext>
            </a:extLst>
          </p:cNvPr>
          <p:cNvSpPr txBox="1"/>
          <p:nvPr/>
        </p:nvSpPr>
        <p:spPr>
          <a:xfrm>
            <a:off x="156344" y="6389687"/>
            <a:ext cx="532031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Immediate Denture</a:t>
            </a:r>
          </a:p>
        </p:txBody>
      </p: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A4E0A25F-837C-D78E-95CF-967C83DECC98}"/>
              </a:ext>
            </a:extLst>
          </p:cNvPr>
          <p:cNvGrpSpPr/>
          <p:nvPr/>
        </p:nvGrpSpPr>
        <p:grpSpPr>
          <a:xfrm>
            <a:off x="1557586" y="1791478"/>
            <a:ext cx="9144626" cy="3150930"/>
            <a:chOff x="888264" y="5163266"/>
            <a:chExt cx="3248118" cy="1102392"/>
          </a:xfrm>
        </p:grpSpPr>
        <p:pic>
          <p:nvPicPr>
            <p:cNvPr id="1026" name="Picture 2" descr="quality_control_images">
              <a:extLst>
                <a:ext uri="{FF2B5EF4-FFF2-40B4-BE49-F238E27FC236}">
                  <a16:creationId xmlns:a16="http://schemas.microsoft.com/office/drawing/2014/main" id="{C2073995-DD23-5E72-56CC-D335F47832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8011" b="89917" l="9970" r="89930">
                          <a14:foregroundMark x1="85543" y1="88122" x2="85543" y2="88122"/>
                          <a14:foregroundMark x1="39482" y1="8011" x2="39482" y2="8011"/>
                          <a14:backgroundMark x1="77966" y1="53729" x2="77966" y2="5372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9265" y="5216548"/>
              <a:ext cx="1407117" cy="10156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036" name="Group 1035">
              <a:extLst>
                <a:ext uri="{FF2B5EF4-FFF2-40B4-BE49-F238E27FC236}">
                  <a16:creationId xmlns:a16="http://schemas.microsoft.com/office/drawing/2014/main" id="{89D27A03-A530-487C-3C98-E0DF18452206}"/>
                </a:ext>
              </a:extLst>
            </p:cNvPr>
            <p:cNvGrpSpPr/>
            <p:nvPr/>
          </p:nvGrpSpPr>
          <p:grpSpPr>
            <a:xfrm>
              <a:off x="888264" y="5163266"/>
              <a:ext cx="2135377" cy="1102392"/>
              <a:chOff x="888264" y="5163266"/>
              <a:chExt cx="2135377" cy="1102392"/>
            </a:xfrm>
          </p:grpSpPr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3A69073E-DB3C-6031-3825-75A9539ABA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3926" b="96074" l="5534" r="95631">
                            <a14:foregroundMark x1="37087" y1="17669" x2="37087" y2="17669"/>
                            <a14:foregroundMark x1="11748" y1="9080" x2="46117" y2="8834"/>
                            <a14:foregroundMark x1="46117" y1="8834" x2="61456" y2="11043"/>
                            <a14:foregroundMark x1="89515" y1="52761" x2="91845" y2="60859"/>
                            <a14:foregroundMark x1="91845" y1="60859" x2="91748" y2="73620"/>
                            <a14:foregroundMark x1="91748" y1="73620" x2="89029" y2="82454"/>
                            <a14:foregroundMark x1="89029" y1="82454" x2="35922" y2="85153"/>
                            <a14:foregroundMark x1="35922" y1="85153" x2="22330" y2="83067"/>
                            <a14:foregroundMark x1="22330" y1="83067" x2="15631" y2="86503"/>
                            <a14:foregroundMark x1="15631" y1="86503" x2="8544" y2="72147"/>
                            <a14:foregroundMark x1="8544" y1="72147" x2="7379" y2="60491"/>
                            <a14:foregroundMark x1="7379" y1="60491" x2="8350" y2="51656"/>
                            <a14:foregroundMark x1="8350" y1="51656" x2="8544" y2="51288"/>
                            <a14:foregroundMark x1="11165" y1="14724" x2="5728" y2="44172"/>
                            <a14:foregroundMark x1="35922" y1="4663" x2="81359" y2="7975"/>
                            <a14:foregroundMark x1="81359" y1="7975" x2="88738" y2="18037"/>
                            <a14:foregroundMark x1="88738" y1="18037" x2="90485" y2="41963"/>
                            <a14:foregroundMark x1="94175" y1="51534" x2="97670" y2="71411"/>
                            <a14:foregroundMark x1="97670" y1="71411" x2="94854" y2="86503"/>
                            <a14:foregroundMark x1="94854" y1="86503" x2="90485" y2="91902"/>
                            <a14:foregroundMark x1="90485" y1="91902" x2="51748" y2="95828"/>
                            <a14:foregroundMark x1="51748" y1="95828" x2="11650" y2="89202"/>
                            <a14:foregroundMark x1="11650" y1="89202" x2="11650" y2="89202"/>
                            <a14:foregroundMark x1="32427" y1="96196" x2="19417" y2="95706"/>
                            <a14:foregroundMark x1="94854" y1="53988" x2="95728" y2="89571"/>
                            <a14:foregroundMark x1="29320" y1="4540" x2="45146" y2="3926"/>
                            <a14:foregroundMark x1="45146" y1="3926" x2="57184" y2="4908"/>
                            <a14:foregroundMark x1="5534" y1="56687" x2="6019" y2="93865"/>
                            <a14:backgroundMark x1="68155" y1="55828" x2="68155" y2="55828"/>
                            <a14:backgroundMark x1="73495" y1="55092" x2="73495" y2="55092"/>
                            <a14:backgroundMark x1="84078" y1="49816" x2="84078" y2="49816"/>
                            <a14:backgroundMark x1="86893" y1="49202" x2="86893" y2="49202"/>
                          </a14:backgroundRemoval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888264" y="5257590"/>
                <a:ext cx="1154794" cy="913745"/>
              </a:xfrm>
              <a:prstGeom prst="rect">
                <a:avLst/>
              </a:prstGeom>
            </p:spPr>
          </p:pic>
          <p:pic>
            <p:nvPicPr>
              <p:cNvPr id="45" name="Graphic 44">
                <a:extLst>
                  <a:ext uri="{FF2B5EF4-FFF2-40B4-BE49-F238E27FC236}">
                    <a16:creationId xmlns:a16="http://schemas.microsoft.com/office/drawing/2014/main" id="{A2D57B2B-0A9D-061F-4037-728110C7D6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1921249" y="5163266"/>
                <a:ext cx="1102392" cy="1102392"/>
              </a:xfrm>
              <a:prstGeom prst="rect">
                <a:avLst/>
              </a:prstGeom>
            </p:spPr>
          </p:pic>
        </p:grpSp>
      </p:grpSp>
      <p:sp>
        <p:nvSpPr>
          <p:cNvPr id="1091" name="TextBox 1090">
            <a:extLst>
              <a:ext uri="{FF2B5EF4-FFF2-40B4-BE49-F238E27FC236}">
                <a16:creationId xmlns:a16="http://schemas.microsoft.com/office/drawing/2014/main" id="{DB16507E-2381-DC70-0234-A05320DFDDA7}"/>
              </a:ext>
            </a:extLst>
          </p:cNvPr>
          <p:cNvSpPr txBox="1"/>
          <p:nvPr/>
        </p:nvSpPr>
        <p:spPr>
          <a:xfrm>
            <a:off x="156344" y="98981"/>
            <a:ext cx="460078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Removable Prosthetic </a:t>
            </a:r>
            <a:r>
              <a:rPr lang="en-US" sz="2400" dirty="0"/>
              <a:t>Treatments</a:t>
            </a:r>
          </a:p>
        </p:txBody>
      </p:sp>
    </p:spTree>
    <p:extLst>
      <p:ext uri="{BB962C8B-B14F-4D97-AF65-F5344CB8AC3E}">
        <p14:creationId xmlns:p14="http://schemas.microsoft.com/office/powerpoint/2010/main" val="15036723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BEB">
            <a:alpha val="44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0" name="TextBox 1079">
            <a:extLst>
              <a:ext uri="{FF2B5EF4-FFF2-40B4-BE49-F238E27FC236}">
                <a16:creationId xmlns:a16="http://schemas.microsoft.com/office/drawing/2014/main" id="{5E5C9E05-7034-B86C-42D9-868824899A1E}"/>
              </a:ext>
            </a:extLst>
          </p:cNvPr>
          <p:cNvSpPr txBox="1"/>
          <p:nvPr/>
        </p:nvSpPr>
        <p:spPr>
          <a:xfrm>
            <a:off x="156344" y="6389687"/>
            <a:ext cx="58789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Full and partial dentures in the same mouth</a:t>
            </a:r>
          </a:p>
        </p:txBody>
      </p:sp>
      <p:sp>
        <p:nvSpPr>
          <p:cNvPr id="1091" name="TextBox 1090">
            <a:extLst>
              <a:ext uri="{FF2B5EF4-FFF2-40B4-BE49-F238E27FC236}">
                <a16:creationId xmlns:a16="http://schemas.microsoft.com/office/drawing/2014/main" id="{DB16507E-2381-DC70-0234-A05320DFDDA7}"/>
              </a:ext>
            </a:extLst>
          </p:cNvPr>
          <p:cNvSpPr txBox="1"/>
          <p:nvPr/>
        </p:nvSpPr>
        <p:spPr>
          <a:xfrm>
            <a:off x="156344" y="98981"/>
            <a:ext cx="460078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Removable Prosthetic </a:t>
            </a:r>
            <a:r>
              <a:rPr lang="en-US" sz="2400" dirty="0"/>
              <a:t>Treatments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24AEBE48-1EA8-D67D-C922-9F0EEC2714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8992" y="1534885"/>
            <a:ext cx="4732655" cy="37882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2378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BEB">
            <a:alpha val="44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TextBox 1080">
            <a:extLst>
              <a:ext uri="{FF2B5EF4-FFF2-40B4-BE49-F238E27FC236}">
                <a16:creationId xmlns:a16="http://schemas.microsoft.com/office/drawing/2014/main" id="{A5955DC6-4AA8-32F4-FF58-E50DAD5D4D59}"/>
              </a:ext>
            </a:extLst>
          </p:cNvPr>
          <p:cNvSpPr txBox="1"/>
          <p:nvPr/>
        </p:nvSpPr>
        <p:spPr>
          <a:xfrm>
            <a:off x="156344" y="6389687"/>
            <a:ext cx="401606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Overdentures/implant supported dentures</a:t>
            </a:r>
          </a:p>
        </p:txBody>
      </p:sp>
      <p:sp>
        <p:nvSpPr>
          <p:cNvPr id="1091" name="TextBox 1090">
            <a:extLst>
              <a:ext uri="{FF2B5EF4-FFF2-40B4-BE49-F238E27FC236}">
                <a16:creationId xmlns:a16="http://schemas.microsoft.com/office/drawing/2014/main" id="{DB16507E-2381-DC70-0234-A05320DFDDA7}"/>
              </a:ext>
            </a:extLst>
          </p:cNvPr>
          <p:cNvSpPr txBox="1"/>
          <p:nvPr/>
        </p:nvSpPr>
        <p:spPr>
          <a:xfrm>
            <a:off x="156344" y="98981"/>
            <a:ext cx="460078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b="1" dirty="0"/>
              <a:t>Removable Prosthetic </a:t>
            </a:r>
            <a:r>
              <a:rPr lang="en-US" sz="2400" dirty="0"/>
              <a:t>Treatments</a:t>
            </a:r>
          </a:p>
        </p:txBody>
      </p:sp>
      <p:pic>
        <p:nvPicPr>
          <p:cNvPr id="4100" name="Picture 4" descr="Implant-Supported Dentures: General Practice | Glidewell">
            <a:extLst>
              <a:ext uri="{FF2B5EF4-FFF2-40B4-BE49-F238E27FC236}">
                <a16:creationId xmlns:a16="http://schemas.microsoft.com/office/drawing/2014/main" id="{773C9137-E1FC-7975-619D-A19FAEE79D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847" b="89736" l="7109" r="95234">
                        <a14:foregroundMark x1="13125" y1="37309" x2="13516" y2="38696"/>
                        <a14:foregroundMark x1="36016" y1="25104" x2="34219" y2="39806"/>
                        <a14:foregroundMark x1="7969" y1="19417" x2="7187" y2="38558"/>
                        <a14:foregroundMark x1="7187" y1="38558" x2="14922" y2="49237"/>
                        <a14:foregroundMark x1="14922" y1="49237" x2="21953" y2="48544"/>
                        <a14:foregroundMark x1="21953" y1="48544" x2="23828" y2="46463"/>
                        <a14:foregroundMark x1="76797" y1="47295" x2="93876" y2="41257"/>
                        <a14:foregroundMark x1="79609" y1="24133" x2="76250" y2="17753"/>
                        <a14:foregroundMark x1="76250" y1="17753" x2="68672" y2="13592"/>
                        <a14:foregroundMark x1="68672" y1="13592" x2="65156" y2="20666"/>
                        <a14:foregroundMark x1="65156" y1="20666" x2="64922" y2="22191"/>
                        <a14:foregroundMark x1="48672" y1="87517" x2="55625" y2="87933"/>
                        <a14:foregroundMark x1="55625" y1="87933" x2="64063" y2="87101"/>
                        <a14:foregroundMark x1="82500" y1="54230" x2="81789" y2="54302"/>
                        <a14:backgroundMark x1="75938" y1="54924" x2="78203" y2="56172"/>
                        <a14:backgroundMark x1="78438" y1="54508" x2="79297" y2="55062"/>
                        <a14:backgroundMark x1="77891" y1="55062" x2="79922" y2="54785"/>
                        <a14:backgroundMark x1="79844" y1="54508" x2="80781" y2="54924"/>
                        <a14:backgroundMark x1="80078" y1="54646" x2="81484" y2="55062"/>
                        <a14:backgroundMark x1="95469" y1="40361" x2="95625" y2="4174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29538" y="1138334"/>
            <a:ext cx="8132923" cy="4581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90247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vGP7FwQ7DWNfcj3jSK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RNg7muS8qnw08T4mI6Ow"/>
</p:tagLst>
</file>

<file path=ppt/theme/theme1.xml><?xml version="1.0" encoding="utf-8"?>
<a:theme xmlns:a="http://schemas.openxmlformats.org/drawingml/2006/main" name="3shape PowerPoint template 16:9">
  <a:themeElements>
    <a:clrScheme name="3Shape">
      <a:dk1>
        <a:srgbClr val="5F5F64"/>
      </a:dk1>
      <a:lt1>
        <a:srgbClr val="FFFFFF"/>
      </a:lt1>
      <a:dk2>
        <a:srgbClr val="254061"/>
      </a:dk2>
      <a:lt2>
        <a:srgbClr val="FFA500"/>
      </a:lt2>
      <a:accent1>
        <a:srgbClr val="C8143C"/>
      </a:accent1>
      <a:accent2>
        <a:srgbClr val="5F5F64"/>
      </a:accent2>
      <a:accent3>
        <a:srgbClr val="A5E1E6"/>
      </a:accent3>
      <a:accent4>
        <a:srgbClr val="98999B"/>
      </a:accent4>
      <a:accent5>
        <a:srgbClr val="DCDCD9"/>
      </a:accent5>
      <a:accent6>
        <a:srgbClr val="DE738B"/>
      </a:accent6>
      <a:hlink>
        <a:srgbClr val="B6163E"/>
      </a:hlink>
      <a:folHlink>
        <a:srgbClr val="A5E1E6"/>
      </a:folHlink>
    </a:clrScheme>
    <a:fontScheme name="3shape 1">
      <a:majorFont>
        <a:latin typeface="Karbon Light"/>
        <a:ea typeface=""/>
        <a:cs typeface=""/>
      </a:majorFont>
      <a:minorFont>
        <a:latin typeface="Karbo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dirty="0" err="1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>
              <a:lumMod val="50000"/>
              <a:lumOff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>
            <a:solidFill>
              <a:schemeClr val="tx1"/>
            </a:solidFill>
            <a:latin typeface="+mj-lt"/>
          </a:defRPr>
        </a:defPPr>
      </a:lstStyle>
    </a:txDef>
  </a:objectDefaults>
  <a:extraClrSchemeLst/>
  <a:custClrLst>
    <a:custClr name="Red">
      <a:srgbClr val="C8143C"/>
    </a:custClr>
    <a:custClr name="Dark Gray">
      <a:srgbClr val="5F5F64"/>
    </a:custClr>
    <a:custClr name="Blue">
      <a:srgbClr val="A5E1E6"/>
    </a:custClr>
    <a:custClr name="Medium Gray">
      <a:srgbClr val="98999B"/>
    </a:custClr>
    <a:custClr name="Light Gray">
      <a:srgbClr val="DCDCD9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80%">
      <a:srgbClr val="D34363"/>
    </a:custClr>
    <a:custClr name="Dark Gray 80%">
      <a:srgbClr val="7F7F83"/>
    </a:custClr>
    <a:custClr name="Blue 80%">
      <a:srgbClr val="B7E7EB"/>
    </a:custClr>
    <a:custClr name="Medium Gray 80%">
      <a:srgbClr val="ADADAF"/>
    </a:custClr>
    <a:custClr name="Light Gray 80%">
      <a:srgbClr val="E3E3E1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60%">
      <a:srgbClr val="DE738B"/>
    </a:custClr>
    <a:custClr name="Dark Gray 60%">
      <a:srgbClr val="9F9FA2"/>
    </a:custClr>
    <a:custClr name="Blue 60%">
      <a:srgbClr val="C9EDF0"/>
    </a:custClr>
    <a:custClr name="Medium Gray 60%">
      <a:srgbClr val="C1C2C3"/>
    </a:custClr>
    <a:custClr name="Light Gray 60%">
      <a:srgbClr val="EAEAE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40%">
      <a:srgbClr val="E9A1B1"/>
    </a:custClr>
    <a:custClr name="Dark Gray 40%">
      <a:srgbClr val="BFBFC1"/>
    </a:custClr>
    <a:custClr name="Blue 40%">
      <a:srgbClr val="DBF3F5"/>
    </a:custClr>
    <a:custClr name="Medium Gray 40%">
      <a:srgbClr val="D6D6D7"/>
    </a:custClr>
    <a:custClr name="Light Gray 40%">
      <a:srgbClr val="F1F1F0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20%">
      <a:srgbClr val="F4D0D8"/>
    </a:custClr>
    <a:custClr name="Dark Gray 20%">
      <a:srgbClr val="DFDFE0"/>
    </a:custClr>
    <a:custClr name="Blue 20%">
      <a:srgbClr val="EDF9FA"/>
    </a:custClr>
    <a:custClr name="Medium Gray 20%">
      <a:srgbClr val="EAEBEB"/>
    </a:custClr>
    <a:custClr name="Light Gray 20%">
      <a:srgbClr val="F8F8F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Presentation1" id="{0D860316-FCB6-4DC5-B4FE-E532C34B6A1C}" vid="{E13CC86A-25D1-4492-BDDC-CEDDAD8126A1}"/>
    </a:ext>
  </a:extLst>
</a:theme>
</file>

<file path=ppt/theme/theme2.xml><?xml version="1.0" encoding="utf-8"?>
<a:theme xmlns:a="http://schemas.openxmlformats.org/drawingml/2006/main" name="Office Theme">
  <a:themeElements>
    <a:clrScheme name="3Shape">
      <a:dk1>
        <a:srgbClr val="5F5F64"/>
      </a:dk1>
      <a:lt1>
        <a:srgbClr val="FFFFFF"/>
      </a:lt1>
      <a:dk2>
        <a:srgbClr val="B6163E"/>
      </a:dk2>
      <a:lt2>
        <a:srgbClr val="5F5F64"/>
      </a:lt2>
      <a:accent1>
        <a:srgbClr val="B6163E"/>
      </a:accent1>
      <a:accent2>
        <a:srgbClr val="5F5F64"/>
      </a:accent2>
      <a:accent3>
        <a:srgbClr val="A5E1E6"/>
      </a:accent3>
      <a:accent4>
        <a:srgbClr val="98999B"/>
      </a:accent4>
      <a:accent5>
        <a:srgbClr val="DCDCD9"/>
      </a:accent5>
      <a:accent6>
        <a:srgbClr val="D3738B"/>
      </a:accent6>
      <a:hlink>
        <a:srgbClr val="B6163E"/>
      </a:hlink>
      <a:folHlink>
        <a:srgbClr val="A5E1E6"/>
      </a:folHlink>
    </a:clrScheme>
    <a:fontScheme name="3Shape_FI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Red">
      <a:srgbClr val="C8143C"/>
    </a:custClr>
    <a:custClr name="Dark Gray">
      <a:srgbClr val="5F5F64"/>
    </a:custClr>
    <a:custClr name="Blue">
      <a:srgbClr val="A5E1E6"/>
    </a:custClr>
    <a:custClr name="Medium Gray">
      <a:srgbClr val="98999B"/>
    </a:custClr>
    <a:custClr name="Light Gray">
      <a:srgbClr val="DCDCD9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80%">
      <a:srgbClr val="D34363"/>
    </a:custClr>
    <a:custClr name="Dark Gray 80%">
      <a:srgbClr val="7F7F83"/>
    </a:custClr>
    <a:custClr name="Blue 80%">
      <a:srgbClr val="B7E7EB"/>
    </a:custClr>
    <a:custClr name="Medium Gray 80%">
      <a:srgbClr val="ADADAF"/>
    </a:custClr>
    <a:custClr name="Light Gray 80%">
      <a:srgbClr val="E3E3E1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60%">
      <a:srgbClr val="DE738B"/>
    </a:custClr>
    <a:custClr name="Dark Gray 60%">
      <a:srgbClr val="9F9FA2"/>
    </a:custClr>
    <a:custClr name="Blue 60%">
      <a:srgbClr val="C9EDF0"/>
    </a:custClr>
    <a:custClr name="Medium Gray 60%">
      <a:srgbClr val="C1C2C3"/>
    </a:custClr>
    <a:custClr name="Light Gray 60%">
      <a:srgbClr val="EAEAE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40%">
      <a:srgbClr val="E9A1B1"/>
    </a:custClr>
    <a:custClr name="Dark Gray 40%">
      <a:srgbClr val="BFBFC1"/>
    </a:custClr>
    <a:custClr name="Blue 40%">
      <a:srgbClr val="DBF3F5"/>
    </a:custClr>
    <a:custClr name="Medium Gray 40%">
      <a:srgbClr val="D6D6D7"/>
    </a:custClr>
    <a:custClr name="Light Gray 40%">
      <a:srgbClr val="F1F1F0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20%">
      <a:srgbClr val="F4D0D8"/>
    </a:custClr>
    <a:custClr name="Dark Gray 20%">
      <a:srgbClr val="DFDFE0"/>
    </a:custClr>
    <a:custClr name="Blue 20%">
      <a:srgbClr val="EDF9FA"/>
    </a:custClr>
    <a:custClr name="Medium Gray 20%">
      <a:srgbClr val="EAEBEB"/>
    </a:custClr>
    <a:custClr name="Light Gray 20%">
      <a:srgbClr val="F8F8F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</a:theme>
</file>

<file path=ppt/theme/theme3.xml><?xml version="1.0" encoding="utf-8"?>
<a:theme xmlns:a="http://schemas.openxmlformats.org/drawingml/2006/main" name="Office-tema">
  <a:themeElements>
    <a:clrScheme name="3Shape">
      <a:dk1>
        <a:srgbClr val="5F5F64"/>
      </a:dk1>
      <a:lt1>
        <a:srgbClr val="FFFFFF"/>
      </a:lt1>
      <a:dk2>
        <a:srgbClr val="B6163E"/>
      </a:dk2>
      <a:lt2>
        <a:srgbClr val="5F5F64"/>
      </a:lt2>
      <a:accent1>
        <a:srgbClr val="B6163E"/>
      </a:accent1>
      <a:accent2>
        <a:srgbClr val="5F5F64"/>
      </a:accent2>
      <a:accent3>
        <a:srgbClr val="A5E1E6"/>
      </a:accent3>
      <a:accent4>
        <a:srgbClr val="98999B"/>
      </a:accent4>
      <a:accent5>
        <a:srgbClr val="DCDCD9"/>
      </a:accent5>
      <a:accent6>
        <a:srgbClr val="D3738B"/>
      </a:accent6>
      <a:hlink>
        <a:srgbClr val="B6163E"/>
      </a:hlink>
      <a:folHlink>
        <a:srgbClr val="A5E1E6"/>
      </a:folHlink>
    </a:clrScheme>
    <a:fontScheme name="Coda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Red">
      <a:srgbClr val="C8143C"/>
    </a:custClr>
    <a:custClr name="Dark Gray">
      <a:srgbClr val="5F5F64"/>
    </a:custClr>
    <a:custClr name="Blue">
      <a:srgbClr val="A5E1E6"/>
    </a:custClr>
    <a:custClr name="Medium Gray">
      <a:srgbClr val="98999B"/>
    </a:custClr>
    <a:custClr name="Light Gray">
      <a:srgbClr val="DCDCD9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80%">
      <a:srgbClr val="D34363"/>
    </a:custClr>
    <a:custClr name="Dark Gray 80%">
      <a:srgbClr val="7F7F83"/>
    </a:custClr>
    <a:custClr name="Blue 80%">
      <a:srgbClr val="B7E7EB"/>
    </a:custClr>
    <a:custClr name="Medium Gray 80%">
      <a:srgbClr val="ADADAF"/>
    </a:custClr>
    <a:custClr name="Light Gray 80%">
      <a:srgbClr val="E3E3E1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60%">
      <a:srgbClr val="DE738B"/>
    </a:custClr>
    <a:custClr name="Dark Gray 60%">
      <a:srgbClr val="9F9FA2"/>
    </a:custClr>
    <a:custClr name="Blue 60%">
      <a:srgbClr val="C9EDF0"/>
    </a:custClr>
    <a:custClr name="Medium Gray 60%">
      <a:srgbClr val="C1C2C3"/>
    </a:custClr>
    <a:custClr name="Light Gray 60%">
      <a:srgbClr val="EAEAE8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40%">
      <a:srgbClr val="E9A1B1"/>
    </a:custClr>
    <a:custClr name="Dark Gray 40%">
      <a:srgbClr val="BFBFC1"/>
    </a:custClr>
    <a:custClr name="Blue 40%">
      <a:srgbClr val="DBF3F5"/>
    </a:custClr>
    <a:custClr name="Medium Gray 40%">
      <a:srgbClr val="D6D6D7"/>
    </a:custClr>
    <a:custClr name="Light Gray 40%">
      <a:srgbClr val="F1F1F0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ed 20%">
      <a:srgbClr val="F4D0D8"/>
    </a:custClr>
    <a:custClr name="Dark Gray 20%">
      <a:srgbClr val="DFDFE0"/>
    </a:custClr>
    <a:custClr name="Blue 20%">
      <a:srgbClr val="EDF9FA"/>
    </a:custClr>
    <a:custClr name="Medium Gray 20%">
      <a:srgbClr val="EAEBEB"/>
    </a:custClr>
    <a:custClr name="Light Gray 20%">
      <a:srgbClr val="F8F8F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12B7743CF608E439289779C0D5930E2" ma:contentTypeVersion="17" ma:contentTypeDescription="Create a new document." ma:contentTypeScope="" ma:versionID="bd359b6de502a96a43d6348c3b955dc1">
  <xsd:schema xmlns:xsd="http://www.w3.org/2001/XMLSchema" xmlns:xs="http://www.w3.org/2001/XMLSchema" xmlns:p="http://schemas.microsoft.com/office/2006/metadata/properties" xmlns:ns3="9249c499-1a06-4958-8402-e2162fae7cbf" xmlns:ns4="8ab7c5b3-d3cf-4f3f-b16f-c1c8347ecead" targetNamespace="http://schemas.microsoft.com/office/2006/metadata/properties" ma:root="true" ma:fieldsID="f286af17e64017c8eab3ee7c3ce6609b" ns3:_="" ns4:_="">
    <xsd:import namespace="9249c499-1a06-4958-8402-e2162fae7cbf"/>
    <xsd:import namespace="8ab7c5b3-d3cf-4f3f-b16f-c1c8347ecead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LengthInSeconds" minOccurs="0"/>
                <xsd:element ref="ns4:MediaServiceLocation" minOccurs="0"/>
                <xsd:element ref="ns4:_activity" minOccurs="0"/>
                <xsd:element ref="ns4:MediaServiceObjectDetectorVersions" minOccurs="0"/>
                <xsd:element ref="ns4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49c499-1a06-4958-8402-e2162fae7cb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b7c5b3-d3cf-4f3f-b16f-c1c8347ecea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8ab7c5b3-d3cf-4f3f-b16f-c1c8347ecead" xsi:nil="true"/>
  </documentManagement>
</p:properties>
</file>

<file path=customXml/itemProps1.xml><?xml version="1.0" encoding="utf-8"?>
<ds:datastoreItem xmlns:ds="http://schemas.openxmlformats.org/officeDocument/2006/customXml" ds:itemID="{747E3490-D8F0-4BD9-9232-58B8857AE0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249c499-1a06-4958-8402-e2162fae7cbf"/>
    <ds:schemaRef ds:uri="8ab7c5b3-d3cf-4f3f-b16f-c1c8347ecea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57CD7AE-28C4-4709-8F04-5425F9965AC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73FEADD-CAF1-4BAC-9317-2F2FB396A432}">
  <ds:schemaRefs>
    <ds:schemaRef ds:uri="http://www.w3.org/XML/1998/namespace"/>
    <ds:schemaRef ds:uri="8ab7c5b3-d3cf-4f3f-b16f-c1c8347ecead"/>
    <ds:schemaRef ds:uri="http://purl.org/dc/terms/"/>
    <ds:schemaRef ds:uri="9249c499-1a06-4958-8402-e2162fae7cbf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1</Words>
  <Application>Microsoft Office PowerPoint</Application>
  <PresentationFormat>Widescreen</PresentationFormat>
  <Paragraphs>36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Karbon Medium</vt:lpstr>
      <vt:lpstr>Karbon Light</vt:lpstr>
      <vt:lpstr>Karbon</vt:lpstr>
      <vt:lpstr>Arial</vt:lpstr>
      <vt:lpstr>3shape PowerPoint template 16:9</vt:lpstr>
      <vt:lpstr>think-cell Slide</vt:lpstr>
      <vt:lpstr>Cha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2-21T09:27:06Z</dcterms:created>
  <dcterms:modified xsi:type="dcterms:W3CDTF">2023-12-01T17:1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:">
    <vt:lpwstr>www.skabelondesign.dk</vt:lpwstr>
  </property>
  <property fmtid="{D5CDD505-2E9C-101B-9397-08002B2CF9AE}" pid="3" name="TemplafyTimeStamp">
    <vt:lpwstr>2022-11-15T12:49:41.9615450Z</vt:lpwstr>
  </property>
  <property fmtid="{D5CDD505-2E9C-101B-9397-08002B2CF9AE}" pid="4" name="MSIP_Label_390abb71-b7ef-49cf-ab6c-8d2e705d75ce_Enabled">
    <vt:lpwstr>true</vt:lpwstr>
  </property>
  <property fmtid="{D5CDD505-2E9C-101B-9397-08002B2CF9AE}" pid="5" name="MSIP_Label_390abb71-b7ef-49cf-ab6c-8d2e705d75ce_SetDate">
    <vt:lpwstr>2023-05-24T11:38:01Z</vt:lpwstr>
  </property>
  <property fmtid="{D5CDD505-2E9C-101B-9397-08002B2CF9AE}" pid="6" name="MSIP_Label_390abb71-b7ef-49cf-ab6c-8d2e705d75ce_Method">
    <vt:lpwstr>Standard</vt:lpwstr>
  </property>
  <property fmtid="{D5CDD505-2E9C-101B-9397-08002B2CF9AE}" pid="7" name="MSIP_Label_390abb71-b7ef-49cf-ab6c-8d2e705d75ce_Name">
    <vt:lpwstr>defa4170-0d19-0005-0002-bc88714345d2</vt:lpwstr>
  </property>
  <property fmtid="{D5CDD505-2E9C-101B-9397-08002B2CF9AE}" pid="8" name="MSIP_Label_390abb71-b7ef-49cf-ab6c-8d2e705d75ce_SiteId">
    <vt:lpwstr>c3b232d6-15a2-46e1-8879-7ec7a9e5c4a9</vt:lpwstr>
  </property>
  <property fmtid="{D5CDD505-2E9C-101B-9397-08002B2CF9AE}" pid="9" name="MSIP_Label_390abb71-b7ef-49cf-ab6c-8d2e705d75ce_ActionId">
    <vt:lpwstr>1b5c7149-273f-4082-b853-2675f85efde8</vt:lpwstr>
  </property>
  <property fmtid="{D5CDD505-2E9C-101B-9397-08002B2CF9AE}" pid="10" name="MSIP_Label_390abb71-b7ef-49cf-ab6c-8d2e705d75ce_ContentBits">
    <vt:lpwstr>0</vt:lpwstr>
  </property>
  <property fmtid="{D5CDD505-2E9C-101B-9397-08002B2CF9AE}" pid="11" name="ContentTypeId">
    <vt:lpwstr>0x010100A12B7743CF608E439289779C0D5930E2</vt:lpwstr>
  </property>
</Properties>
</file>